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978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192" userDrawn="1">
          <p15:clr>
            <a:srgbClr val="A4A3A4"/>
          </p15:clr>
        </p15:guide>
        <p15:guide id="3" pos="7469" userDrawn="1">
          <p15:clr>
            <a:srgbClr val="A4A3A4"/>
          </p15:clr>
        </p15:guide>
        <p15:guide id="4" pos="386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FBDD8"/>
    <a:srgbClr val="054990"/>
    <a:srgbClr val="0C0B45"/>
    <a:srgbClr val="81A4CC"/>
    <a:srgbClr val="23569B"/>
    <a:srgbClr val="387BB7"/>
    <a:srgbClr val="9EB7E5"/>
    <a:srgbClr val="D9D9D9"/>
    <a:srgbClr val="090C9B"/>
    <a:srgbClr val="3066B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94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96" y="78"/>
      </p:cViewPr>
      <p:guideLst>
        <p:guide orient="horz" pos="2160"/>
        <p:guide pos="192"/>
        <p:guide pos="7469"/>
        <p:guide pos="3864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62" d="100"/>
          <a:sy n="62" d="100"/>
        </p:scale>
        <p:origin x="3154" y="4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21465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137BB06-460E-4EE0-8DF4-57C378BE2D90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40545" y="6650296"/>
            <a:ext cx="1651455" cy="207076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200">
                <a:solidFill>
                  <a:schemeClr val="bg1"/>
                </a:solidFill>
                <a:latin typeface="Crimson Pro" pitchFamily="2" charset="0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-1" y="1"/>
            <a:ext cx="419099" cy="16764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B2E74A3-19B4-BD3E-C5C2-54C34A256E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A09A0717-829E-B0EC-4D90-4767B8D06F9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09A0717-829E-B0EC-4D90-4767B8D06F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8AB56AF4-057E-83A5-0027-378DD512962E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3FDED7CA-9F05-2299-4E15-88909CBB40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able</a:t>
            </a:r>
          </a:p>
        </p:txBody>
      </p:sp>
      <p:grpSp>
        <p:nvGrpSpPr>
          <p:cNvPr id="99" name="Group 98">
            <a:extLst>
              <a:ext uri="{FF2B5EF4-FFF2-40B4-BE49-F238E27FC236}">
                <a16:creationId xmlns:a16="http://schemas.microsoft.com/office/drawing/2014/main" id="{DDA2223A-C607-7A1E-C58E-7921B884F1D5}"/>
              </a:ext>
            </a:extLst>
          </p:cNvPr>
          <p:cNvGrpSpPr/>
          <p:nvPr/>
        </p:nvGrpSpPr>
        <p:grpSpPr>
          <a:xfrm>
            <a:off x="839683" y="1066799"/>
            <a:ext cx="10667999" cy="4998333"/>
            <a:chOff x="839683" y="1066800"/>
            <a:chExt cx="10667999" cy="4362026"/>
          </a:xfrm>
        </p:grpSpPr>
        <p:sp>
          <p:nvSpPr>
            <p:cNvPr id="2" name="Shape0_20220721_110914">
              <a:extLst>
                <a:ext uri="{FF2B5EF4-FFF2-40B4-BE49-F238E27FC236}">
                  <a16:creationId xmlns:a16="http://schemas.microsoft.com/office/drawing/2014/main" id="{39FDFF03-6618-093C-04DD-D4DA6721F7AB}"/>
                </a:ext>
              </a:extLst>
            </p:cNvPr>
            <p:cNvSpPr/>
            <p:nvPr/>
          </p:nvSpPr>
          <p:spPr>
            <a:xfrm>
              <a:off x="839683" y="1066800"/>
              <a:ext cx="4089399" cy="4362026"/>
            </a:xfrm>
            <a:custGeom>
              <a:avLst/>
              <a:gdLst/>
              <a:ahLst/>
              <a:cxnLst/>
              <a:rect l="l" t="t" r="r" b="b"/>
              <a:pathLst>
                <a:path w="2891927" h="5618602" extrusionOk="0">
                  <a:moveTo>
                    <a:pt x="2767988" y="5618603"/>
                  </a:moveTo>
                  <a:lnTo>
                    <a:pt x="123940" y="5618603"/>
                  </a:lnTo>
                  <a:cubicBezTo>
                    <a:pt x="55478" y="5618603"/>
                    <a:pt x="0" y="5563125"/>
                    <a:pt x="0" y="5494663"/>
                  </a:cubicBezTo>
                  <a:lnTo>
                    <a:pt x="0" y="123940"/>
                  </a:lnTo>
                  <a:cubicBezTo>
                    <a:pt x="0" y="55478"/>
                    <a:pt x="55478" y="0"/>
                    <a:pt x="123940" y="0"/>
                  </a:cubicBezTo>
                  <a:lnTo>
                    <a:pt x="2767988" y="0"/>
                  </a:lnTo>
                  <a:cubicBezTo>
                    <a:pt x="2836450" y="0"/>
                    <a:pt x="2891928" y="55478"/>
                    <a:pt x="2891928" y="123940"/>
                  </a:cubicBezTo>
                  <a:lnTo>
                    <a:pt x="2891928" y="5494663"/>
                  </a:lnTo>
                  <a:cubicBezTo>
                    <a:pt x="2891928" y="5563125"/>
                    <a:pt x="2836450" y="5618603"/>
                    <a:pt x="2767988" y="5618603"/>
                  </a:cubicBezTo>
                  <a:close/>
                </a:path>
              </a:pathLst>
            </a:cu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  <a:effectLst/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277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" name="Google Shape;3712;p66">
              <a:extLst>
                <a:ext uri="{FF2B5EF4-FFF2-40B4-BE49-F238E27FC236}">
                  <a16:creationId xmlns:a16="http://schemas.microsoft.com/office/drawing/2014/main" id="{BD8B6675-7A27-D5AF-D6AE-D1BB78242AFB}"/>
                </a:ext>
              </a:extLst>
            </p:cNvPr>
            <p:cNvSpPr/>
            <p:nvPr/>
          </p:nvSpPr>
          <p:spPr>
            <a:xfrm>
              <a:off x="933347" y="1123919"/>
              <a:ext cx="3910433" cy="80447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pPr algn="ctr"/>
              <a:r>
                <a:rPr lang="en-US" sz="1471" b="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Title</a:t>
              </a:r>
              <a:endParaRPr sz="147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5" name="Google Shape;3718;p66">
              <a:extLst>
                <a:ext uri="{FF2B5EF4-FFF2-40B4-BE49-F238E27FC236}">
                  <a16:creationId xmlns:a16="http://schemas.microsoft.com/office/drawing/2014/main" id="{0D3A749D-F861-08AE-CA4C-3FF7F41D4C01}"/>
                </a:ext>
              </a:extLst>
            </p:cNvPr>
            <p:cNvSpPr txBox="1"/>
            <p:nvPr/>
          </p:nvSpPr>
          <p:spPr>
            <a:xfrm>
              <a:off x="1030584" y="3833707"/>
              <a:ext cx="2860140" cy="19753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r>
                <a:rPr lang="en-US" sz="1471" dirty="0">
                  <a:solidFill>
                    <a:schemeClr val="tx1">
                      <a:lumMod val="100000"/>
                    </a:schemeClr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  <a:endParaRPr sz="1471" dirty="0">
                <a:solidFill>
                  <a:schemeClr val="tx1">
                    <a:lumMod val="100000"/>
                  </a:schemeClr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6" name="Google Shape;3719;p66">
              <a:extLst>
                <a:ext uri="{FF2B5EF4-FFF2-40B4-BE49-F238E27FC236}">
                  <a16:creationId xmlns:a16="http://schemas.microsoft.com/office/drawing/2014/main" id="{27F58C85-7CFF-5988-C060-41E9835A7433}"/>
                </a:ext>
              </a:extLst>
            </p:cNvPr>
            <p:cNvSpPr txBox="1"/>
            <p:nvPr/>
          </p:nvSpPr>
          <p:spPr>
            <a:xfrm>
              <a:off x="1030584" y="4193902"/>
              <a:ext cx="2860140" cy="19753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r>
                <a:rPr lang="en-US" sz="1471" dirty="0">
                  <a:solidFill>
                    <a:schemeClr val="tx1">
                      <a:lumMod val="100000"/>
                    </a:schemeClr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  <a:endParaRPr sz="1471" dirty="0">
                <a:solidFill>
                  <a:schemeClr val="tx1">
                    <a:lumMod val="100000"/>
                  </a:schemeClr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7" name="Google Shape;3720;p66">
              <a:extLst>
                <a:ext uri="{FF2B5EF4-FFF2-40B4-BE49-F238E27FC236}">
                  <a16:creationId xmlns:a16="http://schemas.microsoft.com/office/drawing/2014/main" id="{7D330DD4-FA9D-BCB3-77C1-624E7054EC89}"/>
                </a:ext>
              </a:extLst>
            </p:cNvPr>
            <p:cNvSpPr txBox="1"/>
            <p:nvPr/>
          </p:nvSpPr>
          <p:spPr>
            <a:xfrm>
              <a:off x="1030584" y="4554097"/>
              <a:ext cx="2860140" cy="19753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r>
                <a:rPr lang="en-US" sz="1471" dirty="0">
                  <a:solidFill>
                    <a:schemeClr val="tx1">
                      <a:lumMod val="100000"/>
                    </a:schemeClr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  <a:endParaRPr sz="1471" dirty="0">
                <a:solidFill>
                  <a:schemeClr val="tx1">
                    <a:lumMod val="100000"/>
                  </a:schemeClr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8" name="Google Shape;3713;p66">
              <a:extLst>
                <a:ext uri="{FF2B5EF4-FFF2-40B4-BE49-F238E27FC236}">
                  <a16:creationId xmlns:a16="http://schemas.microsoft.com/office/drawing/2014/main" id="{1A6C0A9C-1784-DE82-9DC9-5CBA705AD779}"/>
                </a:ext>
              </a:extLst>
            </p:cNvPr>
            <p:cNvSpPr txBox="1"/>
            <p:nvPr/>
          </p:nvSpPr>
          <p:spPr>
            <a:xfrm>
              <a:off x="1030584" y="2032727"/>
              <a:ext cx="2860140" cy="19753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r>
                <a:rPr lang="en-US" sz="1471" dirty="0">
                  <a:solidFill>
                    <a:schemeClr val="tx1">
                      <a:lumMod val="100000"/>
                    </a:schemeClr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  <a:endParaRPr sz="1471" dirty="0">
                <a:solidFill>
                  <a:schemeClr val="tx1">
                    <a:lumMod val="100000"/>
                  </a:schemeClr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9" name="Google Shape;3714;p66">
              <a:extLst>
                <a:ext uri="{FF2B5EF4-FFF2-40B4-BE49-F238E27FC236}">
                  <a16:creationId xmlns:a16="http://schemas.microsoft.com/office/drawing/2014/main" id="{FBF53B67-D46E-2CBC-6819-F0D02300E4B4}"/>
                </a:ext>
              </a:extLst>
            </p:cNvPr>
            <p:cNvSpPr txBox="1"/>
            <p:nvPr/>
          </p:nvSpPr>
          <p:spPr>
            <a:xfrm>
              <a:off x="1030584" y="2392924"/>
              <a:ext cx="2860140" cy="19753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r>
                <a:rPr lang="en-US" sz="1471" dirty="0">
                  <a:solidFill>
                    <a:schemeClr val="tx1">
                      <a:lumMod val="100000"/>
                    </a:schemeClr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  <a:endParaRPr sz="1471" dirty="0">
                <a:solidFill>
                  <a:schemeClr val="tx1">
                    <a:lumMod val="100000"/>
                  </a:schemeClr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10" name="Google Shape;3715;p66">
              <a:extLst>
                <a:ext uri="{FF2B5EF4-FFF2-40B4-BE49-F238E27FC236}">
                  <a16:creationId xmlns:a16="http://schemas.microsoft.com/office/drawing/2014/main" id="{64DF71B3-4DCF-8EE7-CFE6-059B7A0133EB}"/>
                </a:ext>
              </a:extLst>
            </p:cNvPr>
            <p:cNvSpPr txBox="1"/>
            <p:nvPr/>
          </p:nvSpPr>
          <p:spPr>
            <a:xfrm>
              <a:off x="1030584" y="2753118"/>
              <a:ext cx="2860140" cy="19753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r>
                <a:rPr lang="en-US" sz="1471" dirty="0">
                  <a:solidFill>
                    <a:schemeClr val="tx1">
                      <a:lumMod val="100000"/>
                    </a:schemeClr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  <a:endParaRPr sz="1471" dirty="0">
                <a:solidFill>
                  <a:schemeClr val="tx1">
                    <a:lumMod val="100000"/>
                  </a:schemeClr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11" name="Google Shape;3716;p66">
              <a:extLst>
                <a:ext uri="{FF2B5EF4-FFF2-40B4-BE49-F238E27FC236}">
                  <a16:creationId xmlns:a16="http://schemas.microsoft.com/office/drawing/2014/main" id="{4D46A073-A973-09DD-5D2F-6B4B77274F38}"/>
                </a:ext>
              </a:extLst>
            </p:cNvPr>
            <p:cNvSpPr txBox="1"/>
            <p:nvPr/>
          </p:nvSpPr>
          <p:spPr>
            <a:xfrm>
              <a:off x="1030584" y="3113314"/>
              <a:ext cx="2860140" cy="19753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r>
                <a:rPr lang="en-US" sz="1471" dirty="0">
                  <a:solidFill>
                    <a:schemeClr val="tx1">
                      <a:lumMod val="100000"/>
                    </a:schemeClr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  <a:endParaRPr sz="1471" dirty="0">
                <a:solidFill>
                  <a:schemeClr val="tx1">
                    <a:lumMod val="100000"/>
                  </a:schemeClr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13" name="Google Shape;3717;p66">
              <a:extLst>
                <a:ext uri="{FF2B5EF4-FFF2-40B4-BE49-F238E27FC236}">
                  <a16:creationId xmlns:a16="http://schemas.microsoft.com/office/drawing/2014/main" id="{7A61DCF6-3F9C-6BEB-9B44-EDDFBBB60B67}"/>
                </a:ext>
              </a:extLst>
            </p:cNvPr>
            <p:cNvSpPr txBox="1"/>
            <p:nvPr/>
          </p:nvSpPr>
          <p:spPr>
            <a:xfrm>
              <a:off x="1030584" y="3473509"/>
              <a:ext cx="2860140" cy="19753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r>
                <a:rPr lang="en-US" sz="1471" dirty="0">
                  <a:solidFill>
                    <a:schemeClr val="tx1">
                      <a:lumMod val="100000"/>
                    </a:schemeClr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  <a:endParaRPr sz="1471" dirty="0">
                <a:solidFill>
                  <a:schemeClr val="tx1">
                    <a:lumMod val="100000"/>
                  </a:schemeClr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cxnSp>
          <p:nvCxnSpPr>
            <p:cNvPr id="14" name="Google Shape;3721;p66">
              <a:extLst>
                <a:ext uri="{FF2B5EF4-FFF2-40B4-BE49-F238E27FC236}">
                  <a16:creationId xmlns:a16="http://schemas.microsoft.com/office/drawing/2014/main" id="{72B8D36A-4684-758D-54A3-A97CCC50C2CA}"/>
                </a:ext>
              </a:extLst>
            </p:cNvPr>
            <p:cNvCxnSpPr>
              <a:cxnSpLocks/>
            </p:cNvCxnSpPr>
            <p:nvPr/>
          </p:nvCxnSpPr>
          <p:spPr>
            <a:xfrm>
              <a:off x="1030585" y="2311589"/>
              <a:ext cx="3757849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5" name="Google Shape;3722;p66">
              <a:extLst>
                <a:ext uri="{FF2B5EF4-FFF2-40B4-BE49-F238E27FC236}">
                  <a16:creationId xmlns:a16="http://schemas.microsoft.com/office/drawing/2014/main" id="{C3841AED-F75E-F5E2-E1AB-79D1F6805CD9}"/>
                </a:ext>
              </a:extLst>
            </p:cNvPr>
            <p:cNvCxnSpPr>
              <a:cxnSpLocks/>
            </p:cNvCxnSpPr>
            <p:nvPr/>
          </p:nvCxnSpPr>
          <p:spPr>
            <a:xfrm>
              <a:off x="1030585" y="2671784"/>
              <a:ext cx="3757849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6" name="Google Shape;3723;p66">
              <a:extLst>
                <a:ext uri="{FF2B5EF4-FFF2-40B4-BE49-F238E27FC236}">
                  <a16:creationId xmlns:a16="http://schemas.microsoft.com/office/drawing/2014/main" id="{32D3E8AB-676B-60C0-F6DC-C5E88ED78D06}"/>
                </a:ext>
              </a:extLst>
            </p:cNvPr>
            <p:cNvCxnSpPr>
              <a:cxnSpLocks/>
            </p:cNvCxnSpPr>
            <p:nvPr/>
          </p:nvCxnSpPr>
          <p:spPr>
            <a:xfrm>
              <a:off x="1030585" y="3031979"/>
              <a:ext cx="3757849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7" name="Google Shape;3724;p66">
              <a:extLst>
                <a:ext uri="{FF2B5EF4-FFF2-40B4-BE49-F238E27FC236}">
                  <a16:creationId xmlns:a16="http://schemas.microsoft.com/office/drawing/2014/main" id="{CAF8E72D-7294-3D0B-91F9-E36F86C9B99C}"/>
                </a:ext>
              </a:extLst>
            </p:cNvPr>
            <p:cNvCxnSpPr>
              <a:cxnSpLocks/>
            </p:cNvCxnSpPr>
            <p:nvPr/>
          </p:nvCxnSpPr>
          <p:spPr>
            <a:xfrm>
              <a:off x="1030585" y="3392177"/>
              <a:ext cx="3757849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8" name="Google Shape;3725;p66">
              <a:extLst>
                <a:ext uri="{FF2B5EF4-FFF2-40B4-BE49-F238E27FC236}">
                  <a16:creationId xmlns:a16="http://schemas.microsoft.com/office/drawing/2014/main" id="{53D6D5F7-0D13-AB09-76D2-43B57E34FD31}"/>
                </a:ext>
              </a:extLst>
            </p:cNvPr>
            <p:cNvCxnSpPr>
              <a:cxnSpLocks/>
            </p:cNvCxnSpPr>
            <p:nvPr/>
          </p:nvCxnSpPr>
          <p:spPr>
            <a:xfrm>
              <a:off x="1030585" y="3752371"/>
              <a:ext cx="3757849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9" name="Google Shape;3726;p66">
              <a:extLst>
                <a:ext uri="{FF2B5EF4-FFF2-40B4-BE49-F238E27FC236}">
                  <a16:creationId xmlns:a16="http://schemas.microsoft.com/office/drawing/2014/main" id="{98E622FE-BE7E-FBD9-A8C9-D3F73425B3D0}"/>
                </a:ext>
              </a:extLst>
            </p:cNvPr>
            <p:cNvCxnSpPr>
              <a:cxnSpLocks/>
            </p:cNvCxnSpPr>
            <p:nvPr/>
          </p:nvCxnSpPr>
          <p:spPr>
            <a:xfrm>
              <a:off x="1030585" y="4112566"/>
              <a:ext cx="3757849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0" name="Google Shape;3727;p66">
              <a:extLst>
                <a:ext uri="{FF2B5EF4-FFF2-40B4-BE49-F238E27FC236}">
                  <a16:creationId xmlns:a16="http://schemas.microsoft.com/office/drawing/2014/main" id="{6EE7F6BD-0487-212E-D66A-6F0E912629DB}"/>
                </a:ext>
              </a:extLst>
            </p:cNvPr>
            <p:cNvCxnSpPr>
              <a:cxnSpLocks/>
            </p:cNvCxnSpPr>
            <p:nvPr/>
          </p:nvCxnSpPr>
          <p:spPr>
            <a:xfrm>
              <a:off x="1030585" y="4472762"/>
              <a:ext cx="3757849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1" name="Google Shape;3728;p66">
              <a:extLst>
                <a:ext uri="{FF2B5EF4-FFF2-40B4-BE49-F238E27FC236}">
                  <a16:creationId xmlns:a16="http://schemas.microsoft.com/office/drawing/2014/main" id="{4A9EF1B7-7DA2-3234-3FBA-B61A60E1C9D7}"/>
                </a:ext>
              </a:extLst>
            </p:cNvPr>
            <p:cNvCxnSpPr>
              <a:cxnSpLocks/>
            </p:cNvCxnSpPr>
            <p:nvPr/>
          </p:nvCxnSpPr>
          <p:spPr>
            <a:xfrm>
              <a:off x="1030585" y="4832958"/>
              <a:ext cx="3757849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sp>
          <p:nvSpPr>
            <p:cNvPr id="22" name="Shape3_20220721_110914">
              <a:extLst>
                <a:ext uri="{FF2B5EF4-FFF2-40B4-BE49-F238E27FC236}">
                  <a16:creationId xmlns:a16="http://schemas.microsoft.com/office/drawing/2014/main" id="{670013BE-AFDD-93C4-C5BB-806B4EB3A955}"/>
                </a:ext>
              </a:extLst>
            </p:cNvPr>
            <p:cNvSpPr/>
            <p:nvPr/>
          </p:nvSpPr>
          <p:spPr>
            <a:xfrm>
              <a:off x="9335358" y="1066800"/>
              <a:ext cx="2172324" cy="4362026"/>
            </a:xfrm>
            <a:custGeom>
              <a:avLst/>
              <a:gdLst/>
              <a:ahLst/>
              <a:cxnLst/>
              <a:rect l="l" t="t" r="r" b="b"/>
              <a:pathLst>
                <a:path w="1652530" h="5618602" extrusionOk="0">
                  <a:moveTo>
                    <a:pt x="1528590" y="5618603"/>
                  </a:moveTo>
                  <a:lnTo>
                    <a:pt x="123940" y="5618603"/>
                  </a:lnTo>
                  <a:cubicBezTo>
                    <a:pt x="55478" y="5618603"/>
                    <a:pt x="0" y="5563125"/>
                    <a:pt x="0" y="5494663"/>
                  </a:cubicBezTo>
                  <a:lnTo>
                    <a:pt x="0" y="123940"/>
                  </a:lnTo>
                  <a:cubicBezTo>
                    <a:pt x="0" y="55478"/>
                    <a:pt x="55478" y="0"/>
                    <a:pt x="123940" y="0"/>
                  </a:cubicBezTo>
                  <a:lnTo>
                    <a:pt x="1528590" y="0"/>
                  </a:lnTo>
                  <a:cubicBezTo>
                    <a:pt x="1597052" y="0"/>
                    <a:pt x="1652530" y="55478"/>
                    <a:pt x="1652530" y="123940"/>
                  </a:cubicBezTo>
                  <a:lnTo>
                    <a:pt x="1652530" y="5494663"/>
                  </a:lnTo>
                  <a:cubicBezTo>
                    <a:pt x="1652530" y="5563125"/>
                    <a:pt x="1597052" y="5618603"/>
                    <a:pt x="1528590" y="5618603"/>
                  </a:cubicBezTo>
                  <a:close/>
                </a:path>
              </a:pathLst>
            </a:cu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  <a:effectLst/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277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23" name="Shape1_20220721_110914">
              <a:extLst>
                <a:ext uri="{FF2B5EF4-FFF2-40B4-BE49-F238E27FC236}">
                  <a16:creationId xmlns:a16="http://schemas.microsoft.com/office/drawing/2014/main" id="{1085EC71-DDF1-2318-3739-AF626D89E611}"/>
                </a:ext>
              </a:extLst>
            </p:cNvPr>
            <p:cNvSpPr/>
            <p:nvPr/>
          </p:nvSpPr>
          <p:spPr>
            <a:xfrm>
              <a:off x="4947101" y="1066800"/>
              <a:ext cx="2172324" cy="4362026"/>
            </a:xfrm>
            <a:custGeom>
              <a:avLst/>
              <a:gdLst/>
              <a:ahLst/>
              <a:cxnLst/>
              <a:rect l="l" t="t" r="r" b="b"/>
              <a:pathLst>
                <a:path w="1652530" h="5618602" extrusionOk="0">
                  <a:moveTo>
                    <a:pt x="1528590" y="5618603"/>
                  </a:moveTo>
                  <a:lnTo>
                    <a:pt x="123940" y="5618603"/>
                  </a:lnTo>
                  <a:cubicBezTo>
                    <a:pt x="55478" y="5618603"/>
                    <a:pt x="0" y="5563125"/>
                    <a:pt x="0" y="5494663"/>
                  </a:cubicBezTo>
                  <a:lnTo>
                    <a:pt x="0" y="123940"/>
                  </a:lnTo>
                  <a:cubicBezTo>
                    <a:pt x="0" y="55478"/>
                    <a:pt x="55478" y="0"/>
                    <a:pt x="123940" y="0"/>
                  </a:cubicBezTo>
                  <a:lnTo>
                    <a:pt x="1528590" y="0"/>
                  </a:lnTo>
                  <a:cubicBezTo>
                    <a:pt x="1597052" y="0"/>
                    <a:pt x="1652530" y="55478"/>
                    <a:pt x="1652530" y="123940"/>
                  </a:cubicBezTo>
                  <a:lnTo>
                    <a:pt x="1652530" y="5494663"/>
                  </a:lnTo>
                  <a:cubicBezTo>
                    <a:pt x="1652530" y="5563125"/>
                    <a:pt x="1597052" y="5618603"/>
                    <a:pt x="1528590" y="5618603"/>
                  </a:cubicBezTo>
                  <a:close/>
                </a:path>
              </a:pathLst>
            </a:cu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  <a:effectLst/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277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24" name="Google Shape;3730;p66">
              <a:extLst>
                <a:ext uri="{FF2B5EF4-FFF2-40B4-BE49-F238E27FC236}">
                  <a16:creationId xmlns:a16="http://schemas.microsoft.com/office/drawing/2014/main" id="{C74DF7A4-E79A-9655-AFFD-5A54B5D14CB2}"/>
                </a:ext>
              </a:extLst>
            </p:cNvPr>
            <p:cNvSpPr/>
            <p:nvPr/>
          </p:nvSpPr>
          <p:spPr>
            <a:xfrm>
              <a:off x="5044169" y="1123919"/>
              <a:ext cx="1998539" cy="804473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25" name="Google Shape;3731;p66">
              <a:extLst>
                <a:ext uri="{FF2B5EF4-FFF2-40B4-BE49-F238E27FC236}">
                  <a16:creationId xmlns:a16="http://schemas.microsoft.com/office/drawing/2014/main" id="{BABFC1B3-A918-E569-B60A-E21908903DF6}"/>
                </a:ext>
              </a:extLst>
            </p:cNvPr>
            <p:cNvSpPr/>
            <p:nvPr/>
          </p:nvSpPr>
          <p:spPr>
            <a:xfrm>
              <a:off x="5053251" y="4933092"/>
              <a:ext cx="1998539" cy="442652"/>
            </a:xfrm>
            <a:prstGeom prst="roundRect">
              <a:avLst>
                <a:gd name="adj" fmla="val 11531"/>
              </a:avLst>
            </a:prstGeom>
            <a:solidFill>
              <a:schemeClr val="accent2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pPr algn="ctr"/>
              <a:r>
                <a:rPr lang="en-US" sz="147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</a:p>
          </p:txBody>
        </p:sp>
        <p:sp>
          <p:nvSpPr>
            <p:cNvPr id="26" name="Google Shape;3732;p66">
              <a:extLst>
                <a:ext uri="{FF2B5EF4-FFF2-40B4-BE49-F238E27FC236}">
                  <a16:creationId xmlns:a16="http://schemas.microsoft.com/office/drawing/2014/main" id="{109EA72D-F96E-8BA1-AC50-209014B98C6D}"/>
                </a:ext>
              </a:extLst>
            </p:cNvPr>
            <p:cNvSpPr txBox="1"/>
            <p:nvPr/>
          </p:nvSpPr>
          <p:spPr>
            <a:xfrm>
              <a:off x="5271050" y="1210814"/>
              <a:ext cx="1544778" cy="27268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85284" tIns="42642" rIns="85284" bIns="42642" anchor="ctr" anchorCtr="0">
              <a:spAutoFit/>
            </a:bodyPr>
            <a:lstStyle/>
            <a:p>
              <a:pPr algn="ctr"/>
              <a:r>
                <a:rPr lang="en-US" sz="1471" b="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Title</a:t>
              </a:r>
              <a:endParaRPr sz="1471" b="1" dirty="0">
                <a:solidFill>
                  <a:schemeClr val="lt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27" name="Google Shape;3733;p66">
              <a:extLst>
                <a:ext uri="{FF2B5EF4-FFF2-40B4-BE49-F238E27FC236}">
                  <a16:creationId xmlns:a16="http://schemas.microsoft.com/office/drawing/2014/main" id="{91D51684-4255-C399-B95E-6E5054A61832}"/>
                </a:ext>
              </a:extLst>
            </p:cNvPr>
            <p:cNvSpPr txBox="1"/>
            <p:nvPr/>
          </p:nvSpPr>
          <p:spPr>
            <a:xfrm>
              <a:off x="5384634" y="1548360"/>
              <a:ext cx="1317610" cy="27268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85284" tIns="42642" rIns="85284" bIns="42642" anchor="ctr" anchorCtr="0">
              <a:spAutoFit/>
            </a:bodyPr>
            <a:lstStyle/>
            <a:p>
              <a:pPr algn="ctr"/>
              <a:r>
                <a:rPr lang="en-US" sz="1471" b="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$x</a:t>
              </a:r>
              <a:endParaRPr sz="147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28" name="Shape1_20220929_150446">
              <a:extLst>
                <a:ext uri="{FF2B5EF4-FFF2-40B4-BE49-F238E27FC236}">
                  <a16:creationId xmlns:a16="http://schemas.microsoft.com/office/drawing/2014/main" id="{155DC01B-D7D4-06B2-493B-DC5E41D835B1}"/>
                </a:ext>
              </a:extLst>
            </p:cNvPr>
            <p:cNvSpPr/>
            <p:nvPr/>
          </p:nvSpPr>
          <p:spPr>
            <a:xfrm>
              <a:off x="5994710" y="4603326"/>
              <a:ext cx="115617" cy="99071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3335" y="118697"/>
                  </a:moveTo>
                  <a:cubicBezTo>
                    <a:pt x="-1112" y="114251"/>
                    <a:pt x="-1112" y="107050"/>
                    <a:pt x="3335" y="102644"/>
                  </a:cubicBezTo>
                  <a:lnTo>
                    <a:pt x="102644" y="3335"/>
                  </a:lnTo>
                  <a:cubicBezTo>
                    <a:pt x="107090" y="-1112"/>
                    <a:pt x="114290" y="-1112"/>
                    <a:pt x="118697" y="3335"/>
                  </a:cubicBezTo>
                  <a:cubicBezTo>
                    <a:pt x="123143" y="7781"/>
                    <a:pt x="123143" y="14981"/>
                    <a:pt x="118697" y="19388"/>
                  </a:cubicBezTo>
                  <a:lnTo>
                    <a:pt x="19388" y="118697"/>
                  </a:lnTo>
                  <a:cubicBezTo>
                    <a:pt x="14942" y="123143"/>
                    <a:pt x="7741" y="123143"/>
                    <a:pt x="3335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29" name="Shape2_20220929_150446">
              <a:extLst>
                <a:ext uri="{FF2B5EF4-FFF2-40B4-BE49-F238E27FC236}">
                  <a16:creationId xmlns:a16="http://schemas.microsoft.com/office/drawing/2014/main" id="{2219040C-EF6B-DE9A-8BFC-6F0F54A32B6A}"/>
                </a:ext>
              </a:extLst>
            </p:cNvPr>
            <p:cNvSpPr/>
            <p:nvPr/>
          </p:nvSpPr>
          <p:spPr>
            <a:xfrm>
              <a:off x="5994710" y="4603326"/>
              <a:ext cx="115617" cy="99071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02644" y="118697"/>
                  </a:moveTo>
                  <a:lnTo>
                    <a:pt x="3335" y="19388"/>
                  </a:lnTo>
                  <a:cubicBezTo>
                    <a:pt x="-1112" y="14941"/>
                    <a:pt x="-1112" y="7741"/>
                    <a:pt x="3335" y="3335"/>
                  </a:cubicBezTo>
                  <a:cubicBezTo>
                    <a:pt x="7781" y="-1112"/>
                    <a:pt x="14981" y="-1112"/>
                    <a:pt x="19388" y="3335"/>
                  </a:cubicBezTo>
                  <a:lnTo>
                    <a:pt x="118697" y="102644"/>
                  </a:lnTo>
                  <a:cubicBezTo>
                    <a:pt x="123143" y="107090"/>
                    <a:pt x="123143" y="114290"/>
                    <a:pt x="118697" y="118697"/>
                  </a:cubicBezTo>
                  <a:cubicBezTo>
                    <a:pt x="114290" y="123143"/>
                    <a:pt x="107090" y="123143"/>
                    <a:pt x="102644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0" name="Shape3_20220929_150446">
              <a:extLst>
                <a:ext uri="{FF2B5EF4-FFF2-40B4-BE49-F238E27FC236}">
                  <a16:creationId xmlns:a16="http://schemas.microsoft.com/office/drawing/2014/main" id="{427EEFF3-FC7E-98AE-270E-C76D429F41CA}"/>
                </a:ext>
              </a:extLst>
            </p:cNvPr>
            <p:cNvSpPr/>
            <p:nvPr/>
          </p:nvSpPr>
          <p:spPr>
            <a:xfrm>
              <a:off x="5994710" y="4243146"/>
              <a:ext cx="115617" cy="99038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18697" y="118697"/>
                  </a:moveTo>
                  <a:cubicBezTo>
                    <a:pt x="114251" y="123143"/>
                    <a:pt x="107050" y="123143"/>
                    <a:pt x="102644" y="118697"/>
                  </a:cubicBezTo>
                  <a:lnTo>
                    <a:pt x="3335" y="19388"/>
                  </a:lnTo>
                  <a:cubicBezTo>
                    <a:pt x="-1112" y="14941"/>
                    <a:pt x="-1112" y="7741"/>
                    <a:pt x="3335" y="3335"/>
                  </a:cubicBezTo>
                  <a:cubicBezTo>
                    <a:pt x="7781" y="-1112"/>
                    <a:pt x="14981" y="-1112"/>
                    <a:pt x="19388" y="3335"/>
                  </a:cubicBezTo>
                  <a:lnTo>
                    <a:pt x="118697" y="102644"/>
                  </a:lnTo>
                  <a:cubicBezTo>
                    <a:pt x="123143" y="107050"/>
                    <a:pt x="123143" y="114251"/>
                    <a:pt x="118697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1" name="Shape4_20220929_150446">
              <a:extLst>
                <a:ext uri="{FF2B5EF4-FFF2-40B4-BE49-F238E27FC236}">
                  <a16:creationId xmlns:a16="http://schemas.microsoft.com/office/drawing/2014/main" id="{3C18F25A-FC14-9886-615A-D2CBECA4ADB4}"/>
                </a:ext>
              </a:extLst>
            </p:cNvPr>
            <p:cNvSpPr/>
            <p:nvPr/>
          </p:nvSpPr>
          <p:spPr>
            <a:xfrm>
              <a:off x="5994710" y="4243113"/>
              <a:ext cx="115617" cy="99038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18697" y="19388"/>
                  </a:moveTo>
                  <a:lnTo>
                    <a:pt x="19388" y="118697"/>
                  </a:lnTo>
                  <a:cubicBezTo>
                    <a:pt x="14942" y="123143"/>
                    <a:pt x="7741" y="123143"/>
                    <a:pt x="3335" y="118697"/>
                  </a:cubicBezTo>
                  <a:cubicBezTo>
                    <a:pt x="-1112" y="114251"/>
                    <a:pt x="-1112" y="107050"/>
                    <a:pt x="3335" y="102644"/>
                  </a:cubicBezTo>
                  <a:lnTo>
                    <a:pt x="102644" y="3335"/>
                  </a:lnTo>
                  <a:cubicBezTo>
                    <a:pt x="107090" y="-1112"/>
                    <a:pt x="114290" y="-1112"/>
                    <a:pt x="118697" y="3335"/>
                  </a:cubicBezTo>
                  <a:cubicBezTo>
                    <a:pt x="123143" y="7781"/>
                    <a:pt x="123143" y="14981"/>
                    <a:pt x="118697" y="19388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2" name="Shape5_20220929_150446">
              <a:extLst>
                <a:ext uri="{FF2B5EF4-FFF2-40B4-BE49-F238E27FC236}">
                  <a16:creationId xmlns:a16="http://schemas.microsoft.com/office/drawing/2014/main" id="{1AC2DF67-76F9-E48C-41C4-830FA602303D}"/>
                </a:ext>
              </a:extLst>
            </p:cNvPr>
            <p:cNvSpPr/>
            <p:nvPr/>
          </p:nvSpPr>
          <p:spPr>
            <a:xfrm>
              <a:off x="5994710" y="3882936"/>
              <a:ext cx="115617" cy="99071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18697" y="118697"/>
                  </a:moveTo>
                  <a:cubicBezTo>
                    <a:pt x="114251" y="123143"/>
                    <a:pt x="107050" y="123143"/>
                    <a:pt x="102644" y="118697"/>
                  </a:cubicBezTo>
                  <a:lnTo>
                    <a:pt x="3335" y="19388"/>
                  </a:lnTo>
                  <a:cubicBezTo>
                    <a:pt x="-1112" y="14941"/>
                    <a:pt x="-1112" y="7741"/>
                    <a:pt x="3335" y="3335"/>
                  </a:cubicBezTo>
                  <a:cubicBezTo>
                    <a:pt x="7781" y="-1112"/>
                    <a:pt x="14981" y="-1112"/>
                    <a:pt x="19388" y="3335"/>
                  </a:cubicBezTo>
                  <a:lnTo>
                    <a:pt x="118697" y="102644"/>
                  </a:lnTo>
                  <a:cubicBezTo>
                    <a:pt x="123143" y="107090"/>
                    <a:pt x="123143" y="114251"/>
                    <a:pt x="118697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3" name="Shape6_20220929_150446">
              <a:extLst>
                <a:ext uri="{FF2B5EF4-FFF2-40B4-BE49-F238E27FC236}">
                  <a16:creationId xmlns:a16="http://schemas.microsoft.com/office/drawing/2014/main" id="{6408CB5B-A6AF-0C31-0093-D1BECFEB82E5}"/>
                </a:ext>
              </a:extLst>
            </p:cNvPr>
            <p:cNvSpPr/>
            <p:nvPr/>
          </p:nvSpPr>
          <p:spPr>
            <a:xfrm>
              <a:off x="5994710" y="3882936"/>
              <a:ext cx="115617" cy="99071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18697" y="19388"/>
                  </a:moveTo>
                  <a:lnTo>
                    <a:pt x="19388" y="118697"/>
                  </a:lnTo>
                  <a:cubicBezTo>
                    <a:pt x="14942" y="123143"/>
                    <a:pt x="7741" y="123143"/>
                    <a:pt x="3335" y="118697"/>
                  </a:cubicBezTo>
                  <a:cubicBezTo>
                    <a:pt x="-1112" y="114251"/>
                    <a:pt x="-1112" y="107050"/>
                    <a:pt x="3335" y="102644"/>
                  </a:cubicBezTo>
                  <a:lnTo>
                    <a:pt x="102644" y="3335"/>
                  </a:lnTo>
                  <a:cubicBezTo>
                    <a:pt x="107090" y="-1112"/>
                    <a:pt x="114290" y="-1112"/>
                    <a:pt x="118697" y="3335"/>
                  </a:cubicBezTo>
                  <a:cubicBezTo>
                    <a:pt x="123143" y="7741"/>
                    <a:pt x="123143" y="14941"/>
                    <a:pt x="118697" y="19388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4" name="Shape2_20220721_110914">
              <a:extLst>
                <a:ext uri="{FF2B5EF4-FFF2-40B4-BE49-F238E27FC236}">
                  <a16:creationId xmlns:a16="http://schemas.microsoft.com/office/drawing/2014/main" id="{1D87F85C-44B3-EA5F-FC7E-0557D2E63E75}"/>
                </a:ext>
              </a:extLst>
            </p:cNvPr>
            <p:cNvSpPr/>
            <p:nvPr/>
          </p:nvSpPr>
          <p:spPr>
            <a:xfrm>
              <a:off x="7141230" y="1066800"/>
              <a:ext cx="2172324" cy="4362026"/>
            </a:xfrm>
            <a:custGeom>
              <a:avLst/>
              <a:gdLst/>
              <a:ahLst/>
              <a:cxnLst/>
              <a:rect l="l" t="t" r="r" b="b"/>
              <a:pathLst>
                <a:path w="1652530" h="5618602" extrusionOk="0">
                  <a:moveTo>
                    <a:pt x="1528590" y="5618603"/>
                  </a:moveTo>
                  <a:lnTo>
                    <a:pt x="123940" y="5618603"/>
                  </a:lnTo>
                  <a:cubicBezTo>
                    <a:pt x="55478" y="5618603"/>
                    <a:pt x="0" y="5563125"/>
                    <a:pt x="0" y="5494663"/>
                  </a:cubicBezTo>
                  <a:lnTo>
                    <a:pt x="0" y="123940"/>
                  </a:lnTo>
                  <a:cubicBezTo>
                    <a:pt x="0" y="55478"/>
                    <a:pt x="55478" y="0"/>
                    <a:pt x="123940" y="0"/>
                  </a:cubicBezTo>
                  <a:lnTo>
                    <a:pt x="1528590" y="0"/>
                  </a:lnTo>
                  <a:cubicBezTo>
                    <a:pt x="1597052" y="0"/>
                    <a:pt x="1652530" y="55478"/>
                    <a:pt x="1652530" y="123940"/>
                  </a:cubicBezTo>
                  <a:lnTo>
                    <a:pt x="1652530" y="5494663"/>
                  </a:lnTo>
                  <a:cubicBezTo>
                    <a:pt x="1652530" y="5563125"/>
                    <a:pt x="1597052" y="5618603"/>
                    <a:pt x="1528590" y="5618603"/>
                  </a:cubicBezTo>
                  <a:close/>
                </a:path>
              </a:pathLst>
            </a:cu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  <a:effectLst/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277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5" name="Shape0_20220721_110731">
              <a:extLst>
                <a:ext uri="{FF2B5EF4-FFF2-40B4-BE49-F238E27FC236}">
                  <a16:creationId xmlns:a16="http://schemas.microsoft.com/office/drawing/2014/main" id="{326AADC2-2ECA-875E-8231-C616B35E390E}"/>
                </a:ext>
              </a:extLst>
            </p:cNvPr>
            <p:cNvSpPr/>
            <p:nvPr/>
          </p:nvSpPr>
          <p:spPr>
            <a:xfrm>
              <a:off x="7254937" y="1123919"/>
              <a:ext cx="1955092" cy="804473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6" name="Shape1_20220721_110731">
              <a:extLst>
                <a:ext uri="{FF2B5EF4-FFF2-40B4-BE49-F238E27FC236}">
                  <a16:creationId xmlns:a16="http://schemas.microsoft.com/office/drawing/2014/main" id="{4CD2D56D-A77F-8747-31C2-8C2A72CE30D2}"/>
                </a:ext>
              </a:extLst>
            </p:cNvPr>
            <p:cNvSpPr/>
            <p:nvPr/>
          </p:nvSpPr>
          <p:spPr>
            <a:xfrm>
              <a:off x="7237750" y="4933092"/>
              <a:ext cx="1998539" cy="442652"/>
            </a:xfrm>
            <a:prstGeom prst="roundRect">
              <a:avLst>
                <a:gd name="adj" fmla="val 11531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pPr algn="ctr"/>
              <a:r>
                <a:rPr lang="en-US" sz="147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</a:p>
          </p:txBody>
        </p:sp>
        <p:sp>
          <p:nvSpPr>
            <p:cNvPr id="37" name="Google Shape;3766;p66">
              <a:extLst>
                <a:ext uri="{FF2B5EF4-FFF2-40B4-BE49-F238E27FC236}">
                  <a16:creationId xmlns:a16="http://schemas.microsoft.com/office/drawing/2014/main" id="{2F246740-07E1-7CC2-306B-3A96AB92D77C}"/>
                </a:ext>
              </a:extLst>
            </p:cNvPr>
            <p:cNvSpPr txBox="1"/>
            <p:nvPr/>
          </p:nvSpPr>
          <p:spPr>
            <a:xfrm>
              <a:off x="7460093" y="1210814"/>
              <a:ext cx="1544778" cy="27268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85284" tIns="42642" rIns="85284" bIns="42642" anchor="ctr" anchorCtr="0">
              <a:spAutoFit/>
            </a:bodyPr>
            <a:lstStyle/>
            <a:p>
              <a:pPr algn="ctr"/>
              <a:r>
                <a:rPr lang="en-US" sz="1471" b="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Title</a:t>
              </a:r>
              <a:endParaRPr sz="1471" b="1" dirty="0">
                <a:solidFill>
                  <a:schemeClr val="lt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8" name="Google Shape;3767;p66">
              <a:extLst>
                <a:ext uri="{FF2B5EF4-FFF2-40B4-BE49-F238E27FC236}">
                  <a16:creationId xmlns:a16="http://schemas.microsoft.com/office/drawing/2014/main" id="{13494C82-4949-CC92-B7DA-859AF6AD9FD9}"/>
                </a:ext>
              </a:extLst>
            </p:cNvPr>
            <p:cNvSpPr txBox="1"/>
            <p:nvPr/>
          </p:nvSpPr>
          <p:spPr>
            <a:xfrm>
              <a:off x="7573679" y="1548360"/>
              <a:ext cx="1317610" cy="27268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85284" tIns="42642" rIns="85284" bIns="42642" anchor="ctr" anchorCtr="0">
              <a:spAutoFit/>
            </a:bodyPr>
            <a:lstStyle/>
            <a:p>
              <a:pPr algn="ctr"/>
              <a:r>
                <a:rPr lang="en-US" sz="1471" b="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$x</a:t>
              </a:r>
              <a:endParaRPr sz="147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9" name="Shape1_20220929_150341">
              <a:extLst>
                <a:ext uri="{FF2B5EF4-FFF2-40B4-BE49-F238E27FC236}">
                  <a16:creationId xmlns:a16="http://schemas.microsoft.com/office/drawing/2014/main" id="{D8CDD800-1313-36E5-942F-4583F329BED6}"/>
                </a:ext>
              </a:extLst>
            </p:cNvPr>
            <p:cNvSpPr/>
            <p:nvPr/>
          </p:nvSpPr>
          <p:spPr>
            <a:xfrm>
              <a:off x="8140529" y="3852746"/>
              <a:ext cx="192987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7"/>
                  </a:cubicBezTo>
                  <a:lnTo>
                    <a:pt x="1367" y="77344"/>
                  </a:lnTo>
                  <a:cubicBezTo>
                    <a:pt x="-1623" y="71836"/>
                    <a:pt x="462" y="64911"/>
                    <a:pt x="5971" y="61960"/>
                  </a:cubicBezTo>
                  <a:cubicBezTo>
                    <a:pt x="11479" y="58969"/>
                    <a:pt x="18365" y="61055"/>
                    <a:pt x="21355" y="66563"/>
                  </a:cubicBezTo>
                  <a:lnTo>
                    <a:pt x="54484" y="127904"/>
                  </a:lnTo>
                  <a:lnTo>
                    <a:pt x="120310" y="5971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7"/>
                  </a:lnTo>
                  <a:cubicBezTo>
                    <a:pt x="62511" y="160876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0" name="Shape7_20220929_150446">
              <a:extLst>
                <a:ext uri="{FF2B5EF4-FFF2-40B4-BE49-F238E27FC236}">
                  <a16:creationId xmlns:a16="http://schemas.microsoft.com/office/drawing/2014/main" id="{E8217790-A88F-B2F1-9875-401BD5B64728}"/>
                </a:ext>
              </a:extLst>
            </p:cNvPr>
            <p:cNvSpPr/>
            <p:nvPr/>
          </p:nvSpPr>
          <p:spPr>
            <a:xfrm>
              <a:off x="8179212" y="4603326"/>
              <a:ext cx="115617" cy="99071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3335" y="118697"/>
                  </a:moveTo>
                  <a:cubicBezTo>
                    <a:pt x="-1112" y="114251"/>
                    <a:pt x="-1112" y="107050"/>
                    <a:pt x="3335" y="102644"/>
                  </a:cubicBezTo>
                  <a:lnTo>
                    <a:pt x="102644" y="3335"/>
                  </a:lnTo>
                  <a:cubicBezTo>
                    <a:pt x="107090" y="-1112"/>
                    <a:pt x="114290" y="-1112"/>
                    <a:pt x="118697" y="3335"/>
                  </a:cubicBezTo>
                  <a:cubicBezTo>
                    <a:pt x="123143" y="7781"/>
                    <a:pt x="123143" y="14981"/>
                    <a:pt x="118697" y="19388"/>
                  </a:cubicBezTo>
                  <a:lnTo>
                    <a:pt x="19388" y="118697"/>
                  </a:lnTo>
                  <a:cubicBezTo>
                    <a:pt x="14942" y="123143"/>
                    <a:pt x="7741" y="123143"/>
                    <a:pt x="3335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1" name="Shape8_20220929_150446">
              <a:extLst>
                <a:ext uri="{FF2B5EF4-FFF2-40B4-BE49-F238E27FC236}">
                  <a16:creationId xmlns:a16="http://schemas.microsoft.com/office/drawing/2014/main" id="{FB93D612-74E7-BC20-BB01-125D3AF565D9}"/>
                </a:ext>
              </a:extLst>
            </p:cNvPr>
            <p:cNvSpPr/>
            <p:nvPr/>
          </p:nvSpPr>
          <p:spPr>
            <a:xfrm>
              <a:off x="8179212" y="4603326"/>
              <a:ext cx="115617" cy="99071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02644" y="118697"/>
                  </a:moveTo>
                  <a:lnTo>
                    <a:pt x="3335" y="19388"/>
                  </a:lnTo>
                  <a:cubicBezTo>
                    <a:pt x="-1112" y="14941"/>
                    <a:pt x="-1112" y="7741"/>
                    <a:pt x="3335" y="3335"/>
                  </a:cubicBezTo>
                  <a:cubicBezTo>
                    <a:pt x="7781" y="-1112"/>
                    <a:pt x="14981" y="-1112"/>
                    <a:pt x="19388" y="3335"/>
                  </a:cubicBezTo>
                  <a:lnTo>
                    <a:pt x="118697" y="102644"/>
                  </a:lnTo>
                  <a:cubicBezTo>
                    <a:pt x="123143" y="107090"/>
                    <a:pt x="123143" y="114290"/>
                    <a:pt x="118697" y="118697"/>
                  </a:cubicBezTo>
                  <a:cubicBezTo>
                    <a:pt x="114290" y="123143"/>
                    <a:pt x="107090" y="123143"/>
                    <a:pt x="102644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2" name="Shape9_20220929_150446">
              <a:extLst>
                <a:ext uri="{FF2B5EF4-FFF2-40B4-BE49-F238E27FC236}">
                  <a16:creationId xmlns:a16="http://schemas.microsoft.com/office/drawing/2014/main" id="{33362877-8DB6-5425-BFDD-C37F6E85108E}"/>
                </a:ext>
              </a:extLst>
            </p:cNvPr>
            <p:cNvSpPr/>
            <p:nvPr/>
          </p:nvSpPr>
          <p:spPr>
            <a:xfrm>
              <a:off x="8179212" y="4243146"/>
              <a:ext cx="115617" cy="99038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18697" y="118697"/>
                  </a:moveTo>
                  <a:cubicBezTo>
                    <a:pt x="114251" y="123143"/>
                    <a:pt x="107050" y="123143"/>
                    <a:pt x="102644" y="118697"/>
                  </a:cubicBezTo>
                  <a:lnTo>
                    <a:pt x="3335" y="19388"/>
                  </a:lnTo>
                  <a:cubicBezTo>
                    <a:pt x="-1112" y="14941"/>
                    <a:pt x="-1112" y="7741"/>
                    <a:pt x="3335" y="3335"/>
                  </a:cubicBezTo>
                  <a:cubicBezTo>
                    <a:pt x="7781" y="-1112"/>
                    <a:pt x="14981" y="-1112"/>
                    <a:pt x="19388" y="3335"/>
                  </a:cubicBezTo>
                  <a:lnTo>
                    <a:pt x="118697" y="102644"/>
                  </a:lnTo>
                  <a:cubicBezTo>
                    <a:pt x="123143" y="107050"/>
                    <a:pt x="123143" y="114251"/>
                    <a:pt x="118697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3" name="Shape10_20220929_150446">
              <a:extLst>
                <a:ext uri="{FF2B5EF4-FFF2-40B4-BE49-F238E27FC236}">
                  <a16:creationId xmlns:a16="http://schemas.microsoft.com/office/drawing/2014/main" id="{7D99A459-E07B-C886-AAAE-8AB2A1A3BF7A}"/>
                </a:ext>
              </a:extLst>
            </p:cNvPr>
            <p:cNvSpPr/>
            <p:nvPr/>
          </p:nvSpPr>
          <p:spPr>
            <a:xfrm>
              <a:off x="8179212" y="4243113"/>
              <a:ext cx="115617" cy="99038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18697" y="19388"/>
                  </a:moveTo>
                  <a:lnTo>
                    <a:pt x="19388" y="118697"/>
                  </a:lnTo>
                  <a:cubicBezTo>
                    <a:pt x="14942" y="123143"/>
                    <a:pt x="7741" y="123143"/>
                    <a:pt x="3335" y="118697"/>
                  </a:cubicBezTo>
                  <a:cubicBezTo>
                    <a:pt x="-1112" y="114251"/>
                    <a:pt x="-1112" y="107050"/>
                    <a:pt x="3335" y="102644"/>
                  </a:cubicBezTo>
                  <a:lnTo>
                    <a:pt x="102644" y="3335"/>
                  </a:lnTo>
                  <a:cubicBezTo>
                    <a:pt x="107090" y="-1112"/>
                    <a:pt x="114290" y="-1112"/>
                    <a:pt x="118697" y="3335"/>
                  </a:cubicBezTo>
                  <a:cubicBezTo>
                    <a:pt x="123143" y="7781"/>
                    <a:pt x="123143" y="14981"/>
                    <a:pt x="118697" y="19388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4" name="Shape0_20220721_110735">
              <a:extLst>
                <a:ext uri="{FF2B5EF4-FFF2-40B4-BE49-F238E27FC236}">
                  <a16:creationId xmlns:a16="http://schemas.microsoft.com/office/drawing/2014/main" id="{3A44B63A-C629-1D31-D9A3-A34D3EDB94D6}"/>
                </a:ext>
              </a:extLst>
            </p:cNvPr>
            <p:cNvSpPr/>
            <p:nvPr/>
          </p:nvSpPr>
          <p:spPr>
            <a:xfrm>
              <a:off x="9422253" y="1123919"/>
              <a:ext cx="1998539" cy="804473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5" name="Shape1_20220721_110735">
              <a:extLst>
                <a:ext uri="{FF2B5EF4-FFF2-40B4-BE49-F238E27FC236}">
                  <a16:creationId xmlns:a16="http://schemas.microsoft.com/office/drawing/2014/main" id="{332F8061-DAF5-B863-266A-9070D7325F64}"/>
                </a:ext>
              </a:extLst>
            </p:cNvPr>
            <p:cNvSpPr/>
            <p:nvPr/>
          </p:nvSpPr>
          <p:spPr>
            <a:xfrm>
              <a:off x="9422253" y="4933092"/>
              <a:ext cx="1998539" cy="442652"/>
            </a:xfrm>
            <a:prstGeom prst="roundRect">
              <a:avLst>
                <a:gd name="adj" fmla="val 11531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pPr algn="ctr"/>
              <a:r>
                <a:rPr lang="en-US" sz="147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</a:p>
          </p:txBody>
        </p:sp>
        <p:sp>
          <p:nvSpPr>
            <p:cNvPr id="46" name="Google Shape;3794;p66">
              <a:extLst>
                <a:ext uri="{FF2B5EF4-FFF2-40B4-BE49-F238E27FC236}">
                  <a16:creationId xmlns:a16="http://schemas.microsoft.com/office/drawing/2014/main" id="{F49C5778-C0FC-A263-0DD5-A27228F2E9C2}"/>
                </a:ext>
              </a:extLst>
            </p:cNvPr>
            <p:cNvSpPr txBox="1"/>
            <p:nvPr/>
          </p:nvSpPr>
          <p:spPr>
            <a:xfrm>
              <a:off x="9649136" y="1210814"/>
              <a:ext cx="1544778" cy="27268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85284" tIns="42642" rIns="85284" bIns="42642" anchor="ctr" anchorCtr="0">
              <a:spAutoFit/>
            </a:bodyPr>
            <a:lstStyle/>
            <a:p>
              <a:pPr algn="ctr"/>
              <a:r>
                <a:rPr lang="en-US" sz="1471" b="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Title</a:t>
              </a:r>
              <a:endParaRPr sz="1471" b="1" dirty="0">
                <a:solidFill>
                  <a:schemeClr val="lt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7" name="Google Shape;3795;p66">
              <a:extLst>
                <a:ext uri="{FF2B5EF4-FFF2-40B4-BE49-F238E27FC236}">
                  <a16:creationId xmlns:a16="http://schemas.microsoft.com/office/drawing/2014/main" id="{1346DCBB-FE34-1592-6B19-F91054165257}"/>
                </a:ext>
              </a:extLst>
            </p:cNvPr>
            <p:cNvSpPr txBox="1"/>
            <p:nvPr/>
          </p:nvSpPr>
          <p:spPr>
            <a:xfrm>
              <a:off x="9762720" y="1548360"/>
              <a:ext cx="1317610" cy="27268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85284" tIns="42642" rIns="85284" bIns="42642" anchor="ctr" anchorCtr="0">
              <a:spAutoFit/>
            </a:bodyPr>
            <a:lstStyle/>
            <a:p>
              <a:pPr algn="ctr"/>
              <a:r>
                <a:rPr lang="en-US" sz="1471" b="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$x</a:t>
              </a:r>
              <a:endParaRPr sz="147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8" name="Shape2_20220929_150341">
              <a:extLst>
                <a:ext uri="{FF2B5EF4-FFF2-40B4-BE49-F238E27FC236}">
                  <a16:creationId xmlns:a16="http://schemas.microsoft.com/office/drawing/2014/main" id="{AA1F71D8-E096-F2D8-21A6-CEE9059CD724}"/>
                </a:ext>
              </a:extLst>
            </p:cNvPr>
            <p:cNvSpPr/>
            <p:nvPr/>
          </p:nvSpPr>
          <p:spPr>
            <a:xfrm>
              <a:off x="10325032" y="3852746"/>
              <a:ext cx="192987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7"/>
                  </a:cubicBezTo>
                  <a:lnTo>
                    <a:pt x="1367" y="77344"/>
                  </a:lnTo>
                  <a:cubicBezTo>
                    <a:pt x="-1623" y="71836"/>
                    <a:pt x="462" y="64911"/>
                    <a:pt x="5971" y="61960"/>
                  </a:cubicBezTo>
                  <a:cubicBezTo>
                    <a:pt x="11479" y="58969"/>
                    <a:pt x="18365" y="61055"/>
                    <a:pt x="21355" y="66563"/>
                  </a:cubicBezTo>
                  <a:lnTo>
                    <a:pt x="54484" y="127904"/>
                  </a:lnTo>
                  <a:lnTo>
                    <a:pt x="120310" y="5971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7"/>
                  </a:lnTo>
                  <a:cubicBezTo>
                    <a:pt x="62511" y="160876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9" name="Shape3_20220929_150341">
              <a:extLst>
                <a:ext uri="{FF2B5EF4-FFF2-40B4-BE49-F238E27FC236}">
                  <a16:creationId xmlns:a16="http://schemas.microsoft.com/office/drawing/2014/main" id="{A1DDF56C-8080-CB95-267C-59C2C7EA499C}"/>
                </a:ext>
              </a:extLst>
            </p:cNvPr>
            <p:cNvSpPr/>
            <p:nvPr/>
          </p:nvSpPr>
          <p:spPr>
            <a:xfrm>
              <a:off x="10325032" y="4209362"/>
              <a:ext cx="192987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lnTo>
                    <a:pt x="54484" y="163197"/>
                  </a:ln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10"/>
                    <a:pt x="5971" y="61960"/>
                  </a:cubicBezTo>
                  <a:cubicBezTo>
                    <a:pt x="11479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50" name="Shape4_20220929_150341">
              <a:extLst>
                <a:ext uri="{FF2B5EF4-FFF2-40B4-BE49-F238E27FC236}">
                  <a16:creationId xmlns:a16="http://schemas.microsoft.com/office/drawing/2014/main" id="{11588B86-A74F-712A-1228-995659B99AD8}"/>
                </a:ext>
              </a:extLst>
            </p:cNvPr>
            <p:cNvSpPr/>
            <p:nvPr/>
          </p:nvSpPr>
          <p:spPr>
            <a:xfrm>
              <a:off x="10325032" y="4598745"/>
              <a:ext cx="192987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lnTo>
                    <a:pt x="54484" y="163197"/>
                  </a:ln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10"/>
                    <a:pt x="5971" y="61960"/>
                  </a:cubicBezTo>
                  <a:cubicBezTo>
                    <a:pt x="11479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87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51" name="Shape5_20220929_150341">
              <a:extLst>
                <a:ext uri="{FF2B5EF4-FFF2-40B4-BE49-F238E27FC236}">
                  <a16:creationId xmlns:a16="http://schemas.microsoft.com/office/drawing/2014/main" id="{7FF201D2-1E8D-8A94-93FE-69F8B031EBCA}"/>
                </a:ext>
              </a:extLst>
            </p:cNvPr>
            <p:cNvSpPr/>
            <p:nvPr/>
          </p:nvSpPr>
          <p:spPr>
            <a:xfrm>
              <a:off x="5956029" y="2077377"/>
              <a:ext cx="192987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6"/>
                    <a:pt x="462" y="64911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4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52" name="Shape0_20220929_150341">
              <a:extLst>
                <a:ext uri="{FF2B5EF4-FFF2-40B4-BE49-F238E27FC236}">
                  <a16:creationId xmlns:a16="http://schemas.microsoft.com/office/drawing/2014/main" id="{594788C8-FA2D-B95A-7773-96AE343FCA0D}"/>
                </a:ext>
              </a:extLst>
            </p:cNvPr>
            <p:cNvSpPr/>
            <p:nvPr/>
          </p:nvSpPr>
          <p:spPr>
            <a:xfrm>
              <a:off x="8140529" y="2077377"/>
              <a:ext cx="192987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6"/>
                    <a:pt x="462" y="64911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4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53" name="Shape6_20220929_150341">
              <a:extLst>
                <a:ext uri="{FF2B5EF4-FFF2-40B4-BE49-F238E27FC236}">
                  <a16:creationId xmlns:a16="http://schemas.microsoft.com/office/drawing/2014/main" id="{548725A6-5AA7-B8BF-2C83-796C1C302F22}"/>
                </a:ext>
              </a:extLst>
            </p:cNvPr>
            <p:cNvSpPr/>
            <p:nvPr/>
          </p:nvSpPr>
          <p:spPr>
            <a:xfrm>
              <a:off x="10325032" y="2077377"/>
              <a:ext cx="192987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6"/>
                    <a:pt x="462" y="64911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4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54" name="Shape7_20220929_150341">
              <a:extLst>
                <a:ext uri="{FF2B5EF4-FFF2-40B4-BE49-F238E27FC236}">
                  <a16:creationId xmlns:a16="http://schemas.microsoft.com/office/drawing/2014/main" id="{33845FC4-5AA5-88AF-C875-5A29CAF3C8FA}"/>
                </a:ext>
              </a:extLst>
            </p:cNvPr>
            <p:cNvSpPr/>
            <p:nvPr/>
          </p:nvSpPr>
          <p:spPr>
            <a:xfrm>
              <a:off x="5956029" y="2437572"/>
              <a:ext cx="192987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50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56" name="Shape8_20220929_150341">
              <a:extLst>
                <a:ext uri="{FF2B5EF4-FFF2-40B4-BE49-F238E27FC236}">
                  <a16:creationId xmlns:a16="http://schemas.microsoft.com/office/drawing/2014/main" id="{6D5BC4DB-45D6-F2FD-3749-DEEF4AE2C4BB}"/>
                </a:ext>
              </a:extLst>
            </p:cNvPr>
            <p:cNvSpPr/>
            <p:nvPr/>
          </p:nvSpPr>
          <p:spPr>
            <a:xfrm>
              <a:off x="8140529" y="2437572"/>
              <a:ext cx="192987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50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57" name="Shape9_20220929_150341">
              <a:extLst>
                <a:ext uri="{FF2B5EF4-FFF2-40B4-BE49-F238E27FC236}">
                  <a16:creationId xmlns:a16="http://schemas.microsoft.com/office/drawing/2014/main" id="{E6BFA3E4-5D5B-DA25-5D64-132306EEF0E0}"/>
                </a:ext>
              </a:extLst>
            </p:cNvPr>
            <p:cNvSpPr/>
            <p:nvPr/>
          </p:nvSpPr>
          <p:spPr>
            <a:xfrm>
              <a:off x="10325032" y="2437572"/>
              <a:ext cx="192987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50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3490D30D-4DF2-C821-55FC-121E810B2A5A}"/>
                </a:ext>
              </a:extLst>
            </p:cNvPr>
            <p:cNvGrpSpPr/>
            <p:nvPr/>
          </p:nvGrpSpPr>
          <p:grpSpPr>
            <a:xfrm>
              <a:off x="5994710" y="2802347"/>
              <a:ext cx="115617" cy="99071"/>
              <a:chOff x="5914609" y="3274525"/>
              <a:chExt cx="122060" cy="104023"/>
            </a:xfrm>
          </p:grpSpPr>
          <p:sp>
            <p:nvSpPr>
              <p:cNvPr id="59" name="Google Shape;3752;p66">
                <a:extLst>
                  <a:ext uri="{FF2B5EF4-FFF2-40B4-BE49-F238E27FC236}">
                    <a16:creationId xmlns:a16="http://schemas.microsoft.com/office/drawing/2014/main" id="{2636FF83-3931-1F10-6D65-9E597BACC031}"/>
                  </a:ext>
                </a:extLst>
              </p:cNvPr>
              <p:cNvSpPr/>
              <p:nvPr/>
            </p:nvSpPr>
            <p:spPr>
              <a:xfrm>
                <a:off x="5914609" y="3274525"/>
                <a:ext cx="122060" cy="104023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18697"/>
                    </a:moveTo>
                    <a:cubicBezTo>
                      <a:pt x="114251" y="123143"/>
                      <a:pt x="107050" y="123143"/>
                      <a:pt x="102644" y="118697"/>
                    </a:cubicBezTo>
                    <a:lnTo>
                      <a:pt x="3335" y="19388"/>
                    </a:lnTo>
                    <a:cubicBezTo>
                      <a:pt x="-1112" y="14942"/>
                      <a:pt x="-1112" y="7741"/>
                      <a:pt x="3335" y="3335"/>
                    </a:cubicBezTo>
                    <a:cubicBezTo>
                      <a:pt x="7781" y="-1112"/>
                      <a:pt x="14981" y="-1112"/>
                      <a:pt x="19388" y="3335"/>
                    </a:cubicBezTo>
                    <a:lnTo>
                      <a:pt x="118697" y="102644"/>
                    </a:lnTo>
                    <a:cubicBezTo>
                      <a:pt x="123143" y="107090"/>
                      <a:pt x="123143" y="114290"/>
                      <a:pt x="118697" y="118697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85284" tIns="42642" rIns="85284" bIns="42642" anchor="ctr" anchorCtr="0">
                <a:noAutofit/>
              </a:bodyPr>
              <a:lstStyle/>
              <a:p>
                <a:endParaRPr sz="1307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  <p:sp>
            <p:nvSpPr>
              <p:cNvPr id="60" name="Google Shape;3753;p66">
                <a:extLst>
                  <a:ext uri="{FF2B5EF4-FFF2-40B4-BE49-F238E27FC236}">
                    <a16:creationId xmlns:a16="http://schemas.microsoft.com/office/drawing/2014/main" id="{D5E8125A-8F06-BF3E-7A14-77884362996D}"/>
                  </a:ext>
                </a:extLst>
              </p:cNvPr>
              <p:cNvSpPr/>
              <p:nvPr/>
            </p:nvSpPr>
            <p:spPr>
              <a:xfrm>
                <a:off x="5914609" y="3274525"/>
                <a:ext cx="122060" cy="104023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9388"/>
                    </a:moveTo>
                    <a:lnTo>
                      <a:pt x="19388" y="118697"/>
                    </a:lnTo>
                    <a:cubicBezTo>
                      <a:pt x="14942" y="123143"/>
                      <a:pt x="7741" y="123143"/>
                      <a:pt x="3335" y="118697"/>
                    </a:cubicBezTo>
                    <a:cubicBezTo>
                      <a:pt x="-1112" y="114251"/>
                      <a:pt x="-1112" y="107050"/>
                      <a:pt x="3335" y="102644"/>
                    </a:cubicBezTo>
                    <a:lnTo>
                      <a:pt x="102644" y="3335"/>
                    </a:lnTo>
                    <a:cubicBezTo>
                      <a:pt x="107090" y="-1112"/>
                      <a:pt x="114290" y="-1112"/>
                      <a:pt x="118697" y="3335"/>
                    </a:cubicBezTo>
                    <a:cubicBezTo>
                      <a:pt x="123143" y="7781"/>
                      <a:pt x="123143" y="14942"/>
                      <a:pt x="118697" y="19388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85284" tIns="42642" rIns="85284" bIns="42642" anchor="ctr" anchorCtr="0">
                <a:noAutofit/>
              </a:bodyPr>
              <a:lstStyle/>
              <a:p>
                <a:endParaRPr sz="1307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</p:grpSp>
        <p:sp>
          <p:nvSpPr>
            <p:cNvPr id="61" name="Shape10_20220929_150341">
              <a:extLst>
                <a:ext uri="{FF2B5EF4-FFF2-40B4-BE49-F238E27FC236}">
                  <a16:creationId xmlns:a16="http://schemas.microsoft.com/office/drawing/2014/main" id="{B5493CFC-2273-AD87-D540-500373FF2E31}"/>
                </a:ext>
              </a:extLst>
            </p:cNvPr>
            <p:cNvSpPr/>
            <p:nvPr/>
          </p:nvSpPr>
          <p:spPr>
            <a:xfrm>
              <a:off x="8140529" y="2797768"/>
              <a:ext cx="192987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11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62" name="Shape11_20220929_150341">
              <a:extLst>
                <a:ext uri="{FF2B5EF4-FFF2-40B4-BE49-F238E27FC236}">
                  <a16:creationId xmlns:a16="http://schemas.microsoft.com/office/drawing/2014/main" id="{66112923-9638-8B53-8A9C-598BC1F6E6B3}"/>
                </a:ext>
              </a:extLst>
            </p:cNvPr>
            <p:cNvSpPr/>
            <p:nvPr/>
          </p:nvSpPr>
          <p:spPr>
            <a:xfrm>
              <a:off x="10325032" y="2782901"/>
              <a:ext cx="192987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11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09B0D3FD-6AED-FA16-EC72-C9073D2F8807}"/>
                </a:ext>
              </a:extLst>
            </p:cNvPr>
            <p:cNvGrpSpPr/>
            <p:nvPr/>
          </p:nvGrpSpPr>
          <p:grpSpPr>
            <a:xfrm>
              <a:off x="5994710" y="3162543"/>
              <a:ext cx="115617" cy="99071"/>
              <a:chOff x="5914609" y="3652727"/>
              <a:chExt cx="122060" cy="104023"/>
            </a:xfrm>
          </p:grpSpPr>
          <p:sp>
            <p:nvSpPr>
              <p:cNvPr id="64" name="Google Shape;3749;p66">
                <a:extLst>
                  <a:ext uri="{FF2B5EF4-FFF2-40B4-BE49-F238E27FC236}">
                    <a16:creationId xmlns:a16="http://schemas.microsoft.com/office/drawing/2014/main" id="{C707F69C-B20A-B979-E5E8-959829FB05FD}"/>
                  </a:ext>
                </a:extLst>
              </p:cNvPr>
              <p:cNvSpPr/>
              <p:nvPr/>
            </p:nvSpPr>
            <p:spPr>
              <a:xfrm>
                <a:off x="5914609" y="3652727"/>
                <a:ext cx="122060" cy="104023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18697"/>
                    </a:moveTo>
                    <a:cubicBezTo>
                      <a:pt x="114251" y="123143"/>
                      <a:pt x="107050" y="123143"/>
                      <a:pt x="102644" y="118697"/>
                    </a:cubicBezTo>
                    <a:lnTo>
                      <a:pt x="3335" y="19388"/>
                    </a:lnTo>
                    <a:cubicBezTo>
                      <a:pt x="-1112" y="14942"/>
                      <a:pt x="-1112" y="7741"/>
                      <a:pt x="3335" y="3335"/>
                    </a:cubicBezTo>
                    <a:cubicBezTo>
                      <a:pt x="7781" y="-1112"/>
                      <a:pt x="14981" y="-1112"/>
                      <a:pt x="19388" y="3335"/>
                    </a:cubicBezTo>
                    <a:lnTo>
                      <a:pt x="118697" y="102644"/>
                    </a:lnTo>
                    <a:cubicBezTo>
                      <a:pt x="123143" y="107050"/>
                      <a:pt x="123143" y="114251"/>
                      <a:pt x="118697" y="118697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85284" tIns="42642" rIns="85284" bIns="42642" anchor="ctr" anchorCtr="0">
                <a:noAutofit/>
              </a:bodyPr>
              <a:lstStyle/>
              <a:p>
                <a:endParaRPr sz="1307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  <p:sp>
            <p:nvSpPr>
              <p:cNvPr id="65" name="Google Shape;3750;p66">
                <a:extLst>
                  <a:ext uri="{FF2B5EF4-FFF2-40B4-BE49-F238E27FC236}">
                    <a16:creationId xmlns:a16="http://schemas.microsoft.com/office/drawing/2014/main" id="{590D5880-A970-3A5A-5700-643782F3CB7E}"/>
                  </a:ext>
                </a:extLst>
              </p:cNvPr>
              <p:cNvSpPr/>
              <p:nvPr/>
            </p:nvSpPr>
            <p:spPr>
              <a:xfrm>
                <a:off x="5914609" y="3652727"/>
                <a:ext cx="122060" cy="104023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9388"/>
                    </a:moveTo>
                    <a:lnTo>
                      <a:pt x="19388" y="118697"/>
                    </a:lnTo>
                    <a:cubicBezTo>
                      <a:pt x="14942" y="123143"/>
                      <a:pt x="7741" y="123143"/>
                      <a:pt x="3335" y="118697"/>
                    </a:cubicBezTo>
                    <a:cubicBezTo>
                      <a:pt x="-1112" y="114251"/>
                      <a:pt x="-1112" y="107050"/>
                      <a:pt x="3335" y="102644"/>
                    </a:cubicBezTo>
                    <a:lnTo>
                      <a:pt x="102644" y="3335"/>
                    </a:lnTo>
                    <a:cubicBezTo>
                      <a:pt x="107090" y="-1112"/>
                      <a:pt x="114290" y="-1112"/>
                      <a:pt x="118697" y="3335"/>
                    </a:cubicBezTo>
                    <a:cubicBezTo>
                      <a:pt x="123143" y="7741"/>
                      <a:pt x="123143" y="14942"/>
                      <a:pt x="118697" y="19388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85284" tIns="42642" rIns="85284" bIns="42642" anchor="ctr" anchorCtr="0">
                <a:noAutofit/>
              </a:bodyPr>
              <a:lstStyle/>
              <a:p>
                <a:endParaRPr sz="1307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</p:grpSp>
        <p:sp>
          <p:nvSpPr>
            <p:cNvPr id="66" name="Shape12_20220929_150341">
              <a:extLst>
                <a:ext uri="{FF2B5EF4-FFF2-40B4-BE49-F238E27FC236}">
                  <a16:creationId xmlns:a16="http://schemas.microsoft.com/office/drawing/2014/main" id="{EF6B2EDD-20A6-2365-2155-C086C766451D}"/>
                </a:ext>
              </a:extLst>
            </p:cNvPr>
            <p:cNvSpPr/>
            <p:nvPr/>
          </p:nvSpPr>
          <p:spPr>
            <a:xfrm>
              <a:off x="8140529" y="3157963"/>
              <a:ext cx="192987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11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67" name="Shape13_20220929_150341">
              <a:extLst>
                <a:ext uri="{FF2B5EF4-FFF2-40B4-BE49-F238E27FC236}">
                  <a16:creationId xmlns:a16="http://schemas.microsoft.com/office/drawing/2014/main" id="{CB4FC17B-79FC-8CEE-85C5-82AB48151656}"/>
                </a:ext>
              </a:extLst>
            </p:cNvPr>
            <p:cNvSpPr/>
            <p:nvPr/>
          </p:nvSpPr>
          <p:spPr>
            <a:xfrm>
              <a:off x="10325032" y="3139518"/>
              <a:ext cx="192987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11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69504100-7DE2-5420-00B2-8B5370D9B15A}"/>
                </a:ext>
              </a:extLst>
            </p:cNvPr>
            <p:cNvGrpSpPr/>
            <p:nvPr/>
          </p:nvGrpSpPr>
          <p:grpSpPr>
            <a:xfrm>
              <a:off x="5994710" y="3522724"/>
              <a:ext cx="115617" cy="99071"/>
              <a:chOff x="5914609" y="4030911"/>
              <a:chExt cx="122060" cy="104023"/>
            </a:xfrm>
          </p:grpSpPr>
          <p:sp>
            <p:nvSpPr>
              <p:cNvPr id="69" name="Google Shape;3746;p66">
                <a:extLst>
                  <a:ext uri="{FF2B5EF4-FFF2-40B4-BE49-F238E27FC236}">
                    <a16:creationId xmlns:a16="http://schemas.microsoft.com/office/drawing/2014/main" id="{149935A6-96A9-F5CF-7BEA-17BF64BD4736}"/>
                  </a:ext>
                </a:extLst>
              </p:cNvPr>
              <p:cNvSpPr/>
              <p:nvPr/>
            </p:nvSpPr>
            <p:spPr>
              <a:xfrm>
                <a:off x="5914609" y="4030945"/>
                <a:ext cx="122060" cy="103989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18697"/>
                    </a:moveTo>
                    <a:cubicBezTo>
                      <a:pt x="114251" y="123143"/>
                      <a:pt x="107050" y="123143"/>
                      <a:pt x="102644" y="118697"/>
                    </a:cubicBezTo>
                    <a:lnTo>
                      <a:pt x="3335" y="19388"/>
                    </a:lnTo>
                    <a:cubicBezTo>
                      <a:pt x="-1112" y="14942"/>
                      <a:pt x="-1112" y="7741"/>
                      <a:pt x="3335" y="3335"/>
                    </a:cubicBezTo>
                    <a:cubicBezTo>
                      <a:pt x="7781" y="-1112"/>
                      <a:pt x="14981" y="-1112"/>
                      <a:pt x="19388" y="3335"/>
                    </a:cubicBezTo>
                    <a:lnTo>
                      <a:pt x="118697" y="102644"/>
                    </a:lnTo>
                    <a:cubicBezTo>
                      <a:pt x="123143" y="107050"/>
                      <a:pt x="123143" y="114251"/>
                      <a:pt x="118697" y="118697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85284" tIns="42642" rIns="85284" bIns="42642" anchor="ctr" anchorCtr="0">
                <a:noAutofit/>
              </a:bodyPr>
              <a:lstStyle/>
              <a:p>
                <a:endParaRPr sz="1307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  <p:sp>
            <p:nvSpPr>
              <p:cNvPr id="70" name="Google Shape;3747;p66">
                <a:extLst>
                  <a:ext uri="{FF2B5EF4-FFF2-40B4-BE49-F238E27FC236}">
                    <a16:creationId xmlns:a16="http://schemas.microsoft.com/office/drawing/2014/main" id="{5718771A-F9E8-F38A-D71F-D815528B2ABB}"/>
                  </a:ext>
                </a:extLst>
              </p:cNvPr>
              <p:cNvSpPr/>
              <p:nvPr/>
            </p:nvSpPr>
            <p:spPr>
              <a:xfrm>
                <a:off x="5914609" y="4030911"/>
                <a:ext cx="122060" cy="103989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9388"/>
                    </a:moveTo>
                    <a:lnTo>
                      <a:pt x="19388" y="118697"/>
                    </a:lnTo>
                    <a:cubicBezTo>
                      <a:pt x="14942" y="123143"/>
                      <a:pt x="7741" y="123143"/>
                      <a:pt x="3335" y="118697"/>
                    </a:cubicBezTo>
                    <a:cubicBezTo>
                      <a:pt x="-1112" y="114251"/>
                      <a:pt x="-1112" y="107050"/>
                      <a:pt x="3335" y="102644"/>
                    </a:cubicBezTo>
                    <a:lnTo>
                      <a:pt x="102644" y="3335"/>
                    </a:lnTo>
                    <a:cubicBezTo>
                      <a:pt x="107090" y="-1112"/>
                      <a:pt x="114290" y="-1112"/>
                      <a:pt x="118697" y="3335"/>
                    </a:cubicBezTo>
                    <a:cubicBezTo>
                      <a:pt x="123143" y="7781"/>
                      <a:pt x="123143" y="14942"/>
                      <a:pt x="118697" y="19388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85284" tIns="42642" rIns="85284" bIns="42642" anchor="ctr" anchorCtr="0">
                <a:noAutofit/>
              </a:bodyPr>
              <a:lstStyle/>
              <a:p>
                <a:endParaRPr sz="1307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</p:grpSp>
        <p:grpSp>
          <p:nvGrpSpPr>
            <p:cNvPr id="71" name="Group 70">
              <a:extLst>
                <a:ext uri="{FF2B5EF4-FFF2-40B4-BE49-F238E27FC236}">
                  <a16:creationId xmlns:a16="http://schemas.microsoft.com/office/drawing/2014/main" id="{671FDDBB-23EF-C4C0-086E-FD8E420EC1DB}"/>
                </a:ext>
              </a:extLst>
            </p:cNvPr>
            <p:cNvGrpSpPr/>
            <p:nvPr/>
          </p:nvGrpSpPr>
          <p:grpSpPr>
            <a:xfrm>
              <a:off x="8179212" y="3522724"/>
              <a:ext cx="115617" cy="99071"/>
              <a:chOff x="8220842" y="4030911"/>
              <a:chExt cx="122060" cy="104023"/>
            </a:xfrm>
          </p:grpSpPr>
          <p:sp>
            <p:nvSpPr>
              <p:cNvPr id="72" name="Google Shape;3780;p66">
                <a:extLst>
                  <a:ext uri="{FF2B5EF4-FFF2-40B4-BE49-F238E27FC236}">
                    <a16:creationId xmlns:a16="http://schemas.microsoft.com/office/drawing/2014/main" id="{0C8743D1-5BCB-06B7-4CBF-A3C911845794}"/>
                  </a:ext>
                </a:extLst>
              </p:cNvPr>
              <p:cNvSpPr/>
              <p:nvPr/>
            </p:nvSpPr>
            <p:spPr>
              <a:xfrm>
                <a:off x="8220842" y="4030945"/>
                <a:ext cx="122060" cy="103989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18697"/>
                    </a:moveTo>
                    <a:cubicBezTo>
                      <a:pt x="114251" y="123143"/>
                      <a:pt x="107050" y="123143"/>
                      <a:pt x="102644" y="118697"/>
                    </a:cubicBezTo>
                    <a:lnTo>
                      <a:pt x="3335" y="19388"/>
                    </a:lnTo>
                    <a:cubicBezTo>
                      <a:pt x="-1112" y="14942"/>
                      <a:pt x="-1112" y="7741"/>
                      <a:pt x="3335" y="3335"/>
                    </a:cubicBezTo>
                    <a:cubicBezTo>
                      <a:pt x="7781" y="-1112"/>
                      <a:pt x="14981" y="-1112"/>
                      <a:pt x="19388" y="3335"/>
                    </a:cubicBezTo>
                    <a:lnTo>
                      <a:pt x="118697" y="102644"/>
                    </a:lnTo>
                    <a:cubicBezTo>
                      <a:pt x="123143" y="107050"/>
                      <a:pt x="123143" y="114251"/>
                      <a:pt x="118697" y="118697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85284" tIns="42642" rIns="85284" bIns="42642" anchor="ctr" anchorCtr="0">
                <a:noAutofit/>
              </a:bodyPr>
              <a:lstStyle/>
              <a:p>
                <a:endParaRPr sz="1307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  <p:sp>
            <p:nvSpPr>
              <p:cNvPr id="73" name="Google Shape;3781;p66">
                <a:extLst>
                  <a:ext uri="{FF2B5EF4-FFF2-40B4-BE49-F238E27FC236}">
                    <a16:creationId xmlns:a16="http://schemas.microsoft.com/office/drawing/2014/main" id="{368C2802-31B7-1A75-6A36-8F25557D4644}"/>
                  </a:ext>
                </a:extLst>
              </p:cNvPr>
              <p:cNvSpPr/>
              <p:nvPr/>
            </p:nvSpPr>
            <p:spPr>
              <a:xfrm>
                <a:off x="8220842" y="4030911"/>
                <a:ext cx="122060" cy="103989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9388"/>
                    </a:moveTo>
                    <a:lnTo>
                      <a:pt x="19388" y="118697"/>
                    </a:lnTo>
                    <a:cubicBezTo>
                      <a:pt x="14942" y="123143"/>
                      <a:pt x="7741" y="123143"/>
                      <a:pt x="3335" y="118697"/>
                    </a:cubicBezTo>
                    <a:cubicBezTo>
                      <a:pt x="-1112" y="114251"/>
                      <a:pt x="-1112" y="107050"/>
                      <a:pt x="3335" y="102644"/>
                    </a:cubicBezTo>
                    <a:lnTo>
                      <a:pt x="102644" y="3335"/>
                    </a:lnTo>
                    <a:cubicBezTo>
                      <a:pt x="107090" y="-1112"/>
                      <a:pt x="114290" y="-1112"/>
                      <a:pt x="118697" y="3335"/>
                    </a:cubicBezTo>
                    <a:cubicBezTo>
                      <a:pt x="123143" y="7781"/>
                      <a:pt x="123143" y="14942"/>
                      <a:pt x="118697" y="19388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85284" tIns="42642" rIns="85284" bIns="42642" anchor="ctr" anchorCtr="0">
                <a:noAutofit/>
              </a:bodyPr>
              <a:lstStyle/>
              <a:p>
                <a:endParaRPr sz="1307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</p:grpSp>
        <p:sp>
          <p:nvSpPr>
            <p:cNvPr id="74" name="Shape14_20220929_150341">
              <a:extLst>
                <a:ext uri="{FF2B5EF4-FFF2-40B4-BE49-F238E27FC236}">
                  <a16:creationId xmlns:a16="http://schemas.microsoft.com/office/drawing/2014/main" id="{BE650781-3909-95C7-63CE-887DEF866886}"/>
                </a:ext>
              </a:extLst>
            </p:cNvPr>
            <p:cNvSpPr/>
            <p:nvPr/>
          </p:nvSpPr>
          <p:spPr>
            <a:xfrm>
              <a:off x="10325032" y="3496132"/>
              <a:ext cx="192987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11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cxnSp>
          <p:nvCxnSpPr>
            <p:cNvPr id="75" name="Google Shape;3754;p66">
              <a:extLst>
                <a:ext uri="{FF2B5EF4-FFF2-40B4-BE49-F238E27FC236}">
                  <a16:creationId xmlns:a16="http://schemas.microsoft.com/office/drawing/2014/main" id="{3F7D440D-5965-976E-CE47-F21DFF131411}"/>
                </a:ext>
              </a:extLst>
            </p:cNvPr>
            <p:cNvCxnSpPr>
              <a:cxnSpLocks/>
            </p:cNvCxnSpPr>
            <p:nvPr/>
          </p:nvCxnSpPr>
          <p:spPr>
            <a:xfrm>
              <a:off x="5092244" y="2311589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76" name="Google Shape;3782;p66">
              <a:extLst>
                <a:ext uri="{FF2B5EF4-FFF2-40B4-BE49-F238E27FC236}">
                  <a16:creationId xmlns:a16="http://schemas.microsoft.com/office/drawing/2014/main" id="{3A542E14-07A5-4B53-5367-37278CD6CC35}"/>
                </a:ext>
              </a:extLst>
            </p:cNvPr>
            <p:cNvCxnSpPr>
              <a:cxnSpLocks/>
            </p:cNvCxnSpPr>
            <p:nvPr/>
          </p:nvCxnSpPr>
          <p:spPr>
            <a:xfrm>
              <a:off x="7276746" y="2311589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77" name="Google Shape;3804;p66">
              <a:extLst>
                <a:ext uri="{FF2B5EF4-FFF2-40B4-BE49-F238E27FC236}">
                  <a16:creationId xmlns:a16="http://schemas.microsoft.com/office/drawing/2014/main" id="{6F503BC8-A3B8-1478-2978-A43F321A2952}"/>
                </a:ext>
              </a:extLst>
            </p:cNvPr>
            <p:cNvCxnSpPr>
              <a:cxnSpLocks/>
            </p:cNvCxnSpPr>
            <p:nvPr/>
          </p:nvCxnSpPr>
          <p:spPr>
            <a:xfrm>
              <a:off x="9461247" y="2311589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78" name="Google Shape;3755;p66">
              <a:extLst>
                <a:ext uri="{FF2B5EF4-FFF2-40B4-BE49-F238E27FC236}">
                  <a16:creationId xmlns:a16="http://schemas.microsoft.com/office/drawing/2014/main" id="{B8760BF9-D4BE-8A0D-7EBF-703AEC2EAD4D}"/>
                </a:ext>
              </a:extLst>
            </p:cNvPr>
            <p:cNvCxnSpPr/>
            <p:nvPr/>
          </p:nvCxnSpPr>
          <p:spPr>
            <a:xfrm>
              <a:off x="5092244" y="2671784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79" name="Google Shape;3783;p66">
              <a:extLst>
                <a:ext uri="{FF2B5EF4-FFF2-40B4-BE49-F238E27FC236}">
                  <a16:creationId xmlns:a16="http://schemas.microsoft.com/office/drawing/2014/main" id="{4D126E69-245C-E5E8-6E74-AB8C2CD41101}"/>
                </a:ext>
              </a:extLst>
            </p:cNvPr>
            <p:cNvCxnSpPr/>
            <p:nvPr/>
          </p:nvCxnSpPr>
          <p:spPr>
            <a:xfrm>
              <a:off x="7276746" y="2671784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80" name="Google Shape;3805;p66">
              <a:extLst>
                <a:ext uri="{FF2B5EF4-FFF2-40B4-BE49-F238E27FC236}">
                  <a16:creationId xmlns:a16="http://schemas.microsoft.com/office/drawing/2014/main" id="{55622025-6B64-03BB-089D-5879FFAAF820}"/>
                </a:ext>
              </a:extLst>
            </p:cNvPr>
            <p:cNvCxnSpPr/>
            <p:nvPr/>
          </p:nvCxnSpPr>
          <p:spPr>
            <a:xfrm>
              <a:off x="9461247" y="2671784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81" name="Google Shape;3756;p66">
              <a:extLst>
                <a:ext uri="{FF2B5EF4-FFF2-40B4-BE49-F238E27FC236}">
                  <a16:creationId xmlns:a16="http://schemas.microsoft.com/office/drawing/2014/main" id="{1CFA28A7-E033-DC22-B277-5CEDD71C7E9C}"/>
                </a:ext>
              </a:extLst>
            </p:cNvPr>
            <p:cNvCxnSpPr/>
            <p:nvPr/>
          </p:nvCxnSpPr>
          <p:spPr>
            <a:xfrm>
              <a:off x="5092244" y="3031979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82" name="Google Shape;3784;p66">
              <a:extLst>
                <a:ext uri="{FF2B5EF4-FFF2-40B4-BE49-F238E27FC236}">
                  <a16:creationId xmlns:a16="http://schemas.microsoft.com/office/drawing/2014/main" id="{03925140-2E60-020F-EAFB-EEF297CE96DF}"/>
                </a:ext>
              </a:extLst>
            </p:cNvPr>
            <p:cNvCxnSpPr/>
            <p:nvPr/>
          </p:nvCxnSpPr>
          <p:spPr>
            <a:xfrm>
              <a:off x="7276746" y="3031979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83" name="Google Shape;3806;p66">
              <a:extLst>
                <a:ext uri="{FF2B5EF4-FFF2-40B4-BE49-F238E27FC236}">
                  <a16:creationId xmlns:a16="http://schemas.microsoft.com/office/drawing/2014/main" id="{7BDCE730-73A3-7999-FAD7-FF5317A942B9}"/>
                </a:ext>
              </a:extLst>
            </p:cNvPr>
            <p:cNvCxnSpPr/>
            <p:nvPr/>
          </p:nvCxnSpPr>
          <p:spPr>
            <a:xfrm>
              <a:off x="9461247" y="3031979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84" name="Google Shape;3757;p66">
              <a:extLst>
                <a:ext uri="{FF2B5EF4-FFF2-40B4-BE49-F238E27FC236}">
                  <a16:creationId xmlns:a16="http://schemas.microsoft.com/office/drawing/2014/main" id="{4677BF9A-47A6-3002-6EA9-DDCCBB49125A}"/>
                </a:ext>
              </a:extLst>
            </p:cNvPr>
            <p:cNvCxnSpPr/>
            <p:nvPr/>
          </p:nvCxnSpPr>
          <p:spPr>
            <a:xfrm>
              <a:off x="5092244" y="3392177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85" name="Google Shape;3785;p66">
              <a:extLst>
                <a:ext uri="{FF2B5EF4-FFF2-40B4-BE49-F238E27FC236}">
                  <a16:creationId xmlns:a16="http://schemas.microsoft.com/office/drawing/2014/main" id="{047F9512-1FCE-AC1B-BC7A-220CF1ED8AC5}"/>
                </a:ext>
              </a:extLst>
            </p:cNvPr>
            <p:cNvCxnSpPr/>
            <p:nvPr/>
          </p:nvCxnSpPr>
          <p:spPr>
            <a:xfrm>
              <a:off x="7276746" y="3392177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86" name="Google Shape;3807;p66">
              <a:extLst>
                <a:ext uri="{FF2B5EF4-FFF2-40B4-BE49-F238E27FC236}">
                  <a16:creationId xmlns:a16="http://schemas.microsoft.com/office/drawing/2014/main" id="{7AF47DC4-0CA5-6753-1523-D47697D14504}"/>
                </a:ext>
              </a:extLst>
            </p:cNvPr>
            <p:cNvCxnSpPr/>
            <p:nvPr/>
          </p:nvCxnSpPr>
          <p:spPr>
            <a:xfrm>
              <a:off x="9461247" y="3392177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87" name="Google Shape;3758;p66">
              <a:extLst>
                <a:ext uri="{FF2B5EF4-FFF2-40B4-BE49-F238E27FC236}">
                  <a16:creationId xmlns:a16="http://schemas.microsoft.com/office/drawing/2014/main" id="{067ED448-304D-3FB5-E21C-C49072D67CFA}"/>
                </a:ext>
              </a:extLst>
            </p:cNvPr>
            <p:cNvCxnSpPr/>
            <p:nvPr/>
          </p:nvCxnSpPr>
          <p:spPr>
            <a:xfrm>
              <a:off x="5092244" y="3752371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88" name="Google Shape;3786;p66">
              <a:extLst>
                <a:ext uri="{FF2B5EF4-FFF2-40B4-BE49-F238E27FC236}">
                  <a16:creationId xmlns:a16="http://schemas.microsoft.com/office/drawing/2014/main" id="{92F25735-FBDC-5569-45EC-87F51695F434}"/>
                </a:ext>
              </a:extLst>
            </p:cNvPr>
            <p:cNvCxnSpPr/>
            <p:nvPr/>
          </p:nvCxnSpPr>
          <p:spPr>
            <a:xfrm>
              <a:off x="7276746" y="3752371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89" name="Google Shape;3808;p66">
              <a:extLst>
                <a:ext uri="{FF2B5EF4-FFF2-40B4-BE49-F238E27FC236}">
                  <a16:creationId xmlns:a16="http://schemas.microsoft.com/office/drawing/2014/main" id="{C96D7044-540F-05BB-65AB-2080A35B1075}"/>
                </a:ext>
              </a:extLst>
            </p:cNvPr>
            <p:cNvCxnSpPr/>
            <p:nvPr/>
          </p:nvCxnSpPr>
          <p:spPr>
            <a:xfrm>
              <a:off x="9461247" y="3752371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90" name="Google Shape;3759;p66">
              <a:extLst>
                <a:ext uri="{FF2B5EF4-FFF2-40B4-BE49-F238E27FC236}">
                  <a16:creationId xmlns:a16="http://schemas.microsoft.com/office/drawing/2014/main" id="{6D2481D5-4648-8645-77F3-3055A8EFB485}"/>
                </a:ext>
              </a:extLst>
            </p:cNvPr>
            <p:cNvCxnSpPr/>
            <p:nvPr/>
          </p:nvCxnSpPr>
          <p:spPr>
            <a:xfrm>
              <a:off x="5092244" y="4112566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91" name="Google Shape;3787;p66">
              <a:extLst>
                <a:ext uri="{FF2B5EF4-FFF2-40B4-BE49-F238E27FC236}">
                  <a16:creationId xmlns:a16="http://schemas.microsoft.com/office/drawing/2014/main" id="{A7A71EA3-1047-04C1-8E86-7422C109CEB5}"/>
                </a:ext>
              </a:extLst>
            </p:cNvPr>
            <p:cNvCxnSpPr/>
            <p:nvPr/>
          </p:nvCxnSpPr>
          <p:spPr>
            <a:xfrm>
              <a:off x="7276746" y="4112566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92" name="Google Shape;3809;p66">
              <a:extLst>
                <a:ext uri="{FF2B5EF4-FFF2-40B4-BE49-F238E27FC236}">
                  <a16:creationId xmlns:a16="http://schemas.microsoft.com/office/drawing/2014/main" id="{41D3D87D-AF79-C2C8-C53B-7A90ECFBA91A}"/>
                </a:ext>
              </a:extLst>
            </p:cNvPr>
            <p:cNvCxnSpPr/>
            <p:nvPr/>
          </p:nvCxnSpPr>
          <p:spPr>
            <a:xfrm>
              <a:off x="9461247" y="4112566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93" name="Google Shape;3760;p66">
              <a:extLst>
                <a:ext uri="{FF2B5EF4-FFF2-40B4-BE49-F238E27FC236}">
                  <a16:creationId xmlns:a16="http://schemas.microsoft.com/office/drawing/2014/main" id="{A84BCA37-AAE4-5F51-41B2-E364C30026BA}"/>
                </a:ext>
              </a:extLst>
            </p:cNvPr>
            <p:cNvCxnSpPr/>
            <p:nvPr/>
          </p:nvCxnSpPr>
          <p:spPr>
            <a:xfrm>
              <a:off x="5092244" y="4472762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94" name="Google Shape;3788;p66">
              <a:extLst>
                <a:ext uri="{FF2B5EF4-FFF2-40B4-BE49-F238E27FC236}">
                  <a16:creationId xmlns:a16="http://schemas.microsoft.com/office/drawing/2014/main" id="{C92A225C-3273-85D7-C278-C7B64DC559D9}"/>
                </a:ext>
              </a:extLst>
            </p:cNvPr>
            <p:cNvCxnSpPr/>
            <p:nvPr/>
          </p:nvCxnSpPr>
          <p:spPr>
            <a:xfrm>
              <a:off x="7276746" y="4472762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95" name="Google Shape;3810;p66">
              <a:extLst>
                <a:ext uri="{FF2B5EF4-FFF2-40B4-BE49-F238E27FC236}">
                  <a16:creationId xmlns:a16="http://schemas.microsoft.com/office/drawing/2014/main" id="{B54093FF-23E4-8B97-86F0-D846942D4636}"/>
                </a:ext>
              </a:extLst>
            </p:cNvPr>
            <p:cNvCxnSpPr/>
            <p:nvPr/>
          </p:nvCxnSpPr>
          <p:spPr>
            <a:xfrm>
              <a:off x="9461247" y="4472762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96" name="Google Shape;3761;p66">
              <a:extLst>
                <a:ext uri="{FF2B5EF4-FFF2-40B4-BE49-F238E27FC236}">
                  <a16:creationId xmlns:a16="http://schemas.microsoft.com/office/drawing/2014/main" id="{9BBCA0CB-F6A5-C6E4-AEF8-6B9323352F29}"/>
                </a:ext>
              </a:extLst>
            </p:cNvPr>
            <p:cNvCxnSpPr/>
            <p:nvPr/>
          </p:nvCxnSpPr>
          <p:spPr>
            <a:xfrm>
              <a:off x="5092244" y="4832958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97" name="Google Shape;3789;p66">
              <a:extLst>
                <a:ext uri="{FF2B5EF4-FFF2-40B4-BE49-F238E27FC236}">
                  <a16:creationId xmlns:a16="http://schemas.microsoft.com/office/drawing/2014/main" id="{5B44CA5D-23F5-6395-B0FB-CC480F52386E}"/>
                </a:ext>
              </a:extLst>
            </p:cNvPr>
            <p:cNvCxnSpPr/>
            <p:nvPr/>
          </p:nvCxnSpPr>
          <p:spPr>
            <a:xfrm>
              <a:off x="7276746" y="4832958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98" name="Google Shape;3811;p66">
              <a:extLst>
                <a:ext uri="{FF2B5EF4-FFF2-40B4-BE49-F238E27FC236}">
                  <a16:creationId xmlns:a16="http://schemas.microsoft.com/office/drawing/2014/main" id="{88A34111-CE0E-1B4B-28C4-F1267397DC2C}"/>
                </a:ext>
              </a:extLst>
            </p:cNvPr>
            <p:cNvCxnSpPr/>
            <p:nvPr/>
          </p:nvCxnSpPr>
          <p:spPr>
            <a:xfrm>
              <a:off x="9461247" y="4832958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</p:spTree>
    <p:extLst>
      <p:ext uri="{BB962C8B-B14F-4D97-AF65-F5344CB8AC3E}">
        <p14:creationId xmlns:p14="http://schemas.microsoft.com/office/powerpoint/2010/main" val="164624512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1F54"/>
      </a:accent1>
      <a:accent2>
        <a:srgbClr val="054990"/>
      </a:accent2>
      <a:accent3>
        <a:srgbClr val="3F7CB2"/>
      </a:accent3>
      <a:accent4>
        <a:srgbClr val="81A4CC"/>
      </a:accent4>
      <a:accent5>
        <a:srgbClr val="034078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82</TotalTime>
  <Words>45</Words>
  <Application>Microsoft Office PowerPoint</Application>
  <PresentationFormat>Widescreen</PresentationFormat>
  <Paragraphs>2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Tabl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rategy Template</dc:title>
  <dc:subject/>
  <dc:creator>Analyst Academy LLC</dc:creator>
  <cp:keywords/>
  <dc:description/>
  <cp:lastModifiedBy>Diam Cabatay</cp:lastModifiedBy>
  <cp:revision>398</cp:revision>
  <dcterms:created xsi:type="dcterms:W3CDTF">2021-03-31T02:49:57Z</dcterms:created>
  <dcterms:modified xsi:type="dcterms:W3CDTF">2025-10-16T10:43:43Z</dcterms:modified>
  <cp:category/>
</cp:coreProperties>
</file>